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heme/theme2.xml" ContentType="application/vnd.openxmlformats-officedocument.them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notesSlides/notesSlide1.xml" ContentType="application/vnd.openxmlformats-officedocument.presentationml.notesSlide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10"/>
  </p:notesMasterIdLst>
  <p:sldIdLst>
    <p:sldId id="2145706807" r:id="rId5"/>
    <p:sldId id="2145706900" r:id="rId6"/>
    <p:sldId id="2145706910" r:id="rId7"/>
    <p:sldId id="2145706905" r:id="rId8"/>
    <p:sldId id="2145706906" r:id="rId9"/>
  </p:sldIdLst>
  <p:sldSz cx="9144000" cy="7954963"/>
  <p:notesSz cx="6858000" cy="9144000"/>
  <p:custDataLst>
    <p:tags r:id="rId11"/>
  </p:custDataLst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Trebuchet MS" panose="020B0603020202020204" pitchFamily="34" charset="0"/>
        <a:ea typeface="+mn-ea"/>
        <a:cs typeface="Arial" panose="020B0604020202020204" pitchFamily="34" charset="0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Trebuchet MS" panose="020B0603020202020204" pitchFamily="34" charset="0"/>
        <a:ea typeface="+mn-ea"/>
        <a:cs typeface="Arial" panose="020B0604020202020204" pitchFamily="34" charset="0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Trebuchet MS" panose="020B0603020202020204" pitchFamily="34" charset="0"/>
        <a:ea typeface="+mn-ea"/>
        <a:cs typeface="Arial" panose="020B0604020202020204" pitchFamily="34" charset="0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Trebuchet MS" panose="020B0603020202020204" pitchFamily="34" charset="0"/>
        <a:ea typeface="+mn-ea"/>
        <a:cs typeface="Arial" panose="020B0604020202020204" pitchFamily="34" charset="0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Trebuchet MS" panose="020B0603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Trebuchet MS" panose="020B060302020202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Trebuchet MS" panose="020B060302020202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Trebuchet MS" panose="020B060302020202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Trebuchet MS" panose="020B0603020202020204" pitchFamily="34" charset="0"/>
        <a:ea typeface="+mn-ea"/>
        <a:cs typeface="Arial" panose="020B0604020202020204" pitchFamily="34" charset="0"/>
      </a:defRPr>
    </a:lvl9pPr>
  </p:defaultTextStyle>
  <p:extLst>
    <p:ext uri="{521415D9-36F7-43E2-AB2F-B90AF26B5E84}">
      <p14:sectionLst xmlns:p14="http://schemas.microsoft.com/office/powerpoint/2010/main">
        <p14:section name="Default Section" id="{DBE48F88-25D4-4A73-BAA4-4F7F71320269}">
          <p14:sldIdLst>
            <p14:sldId id="2145706807"/>
            <p14:sldId id="2145706900"/>
            <p14:sldId id="2145706910"/>
            <p14:sldId id="2145706905"/>
            <p14:sldId id="2145706906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506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echtolsheim, Benjamin" initials="BB" lastIdx="3" clrIdx="0"/>
  <p:cmAuthor id="2" name="Kruse, Sam" initials="KS" lastIdx="1" clrIdx="1"/>
  <p:cmAuthor id="3" name="Cripe, Millicent" initials="CM" lastIdx="37" clrIdx="2">
    <p:extLst>
      <p:ext uri="{19B8F6BF-5375-455C-9EA6-DF929625EA0E}">
        <p15:presenceInfo xmlns:p15="http://schemas.microsoft.com/office/powerpoint/2012/main" userId="S::Millicent.Cripe@ct.gov::877b4275-f871-4b05-a482-f6aed8fe1fe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81C8"/>
    <a:srgbClr val="A6A6A6"/>
    <a:srgbClr val="FFD34D"/>
    <a:srgbClr val="5B9BD5"/>
    <a:srgbClr val="4674C5"/>
    <a:srgbClr val="6FAD46"/>
    <a:srgbClr val="00B050"/>
    <a:srgbClr val="F8C028"/>
    <a:srgbClr val="4E67C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C6329F2-E7CB-40C5-AC1C-2CC6B0D39272}" v="39" dt="2021-05-26T14:27:25.79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97" d="100"/>
          <a:sy n="97" d="100"/>
        </p:scale>
        <p:origin x="2004" y="72"/>
      </p:cViewPr>
      <p:guideLst>
        <p:guide orient="horz" pos="2506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presProps" Target="presProps.xml"/><Relationship Id="rId18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commentAuthors" Target="commentAuthors.xml"/><Relationship Id="rId17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tags" Target="tags/tag1.xml"/><Relationship Id="rId5" Type="http://schemas.openxmlformats.org/officeDocument/2006/relationships/slide" Target="slides/slide1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ripe, Millicent" userId="877b4275-f871-4b05-a482-f6aed8fe1fe7" providerId="ADAL" clId="{5C6329F2-E7CB-40C5-AC1C-2CC6B0D39272}"/>
    <pc:docChg chg="custSel modSld">
      <pc:chgData name="Cripe, Millicent" userId="877b4275-f871-4b05-a482-f6aed8fe1fe7" providerId="ADAL" clId="{5C6329F2-E7CB-40C5-AC1C-2CC6B0D39272}" dt="2021-05-26T14:27:16.464" v="97" actId="20577"/>
      <pc:docMkLst>
        <pc:docMk/>
      </pc:docMkLst>
      <pc:sldChg chg="modSp mod">
        <pc:chgData name="Cripe, Millicent" userId="877b4275-f871-4b05-a482-f6aed8fe1fe7" providerId="ADAL" clId="{5C6329F2-E7CB-40C5-AC1C-2CC6B0D39272}" dt="2021-05-26T14:27:16.464" v="97" actId="20577"/>
        <pc:sldMkLst>
          <pc:docMk/>
          <pc:sldMk cId="1674336802" sldId="2145706900"/>
        </pc:sldMkLst>
        <pc:spChg chg="mod">
          <ac:chgData name="Cripe, Millicent" userId="877b4275-f871-4b05-a482-f6aed8fe1fe7" providerId="ADAL" clId="{5C6329F2-E7CB-40C5-AC1C-2CC6B0D39272}" dt="2021-05-26T14:27:04.168" v="93" actId="1036"/>
          <ac:spMkLst>
            <pc:docMk/>
            <pc:sldMk cId="1674336802" sldId="2145706900"/>
            <ac:spMk id="15" creationId="{2726D027-2715-EE4D-B767-BA457D7527D1}"/>
          </ac:spMkLst>
        </pc:spChg>
        <pc:spChg chg="mod">
          <ac:chgData name="Cripe, Millicent" userId="877b4275-f871-4b05-a482-f6aed8fe1fe7" providerId="ADAL" clId="{5C6329F2-E7CB-40C5-AC1C-2CC6B0D39272}" dt="2021-05-26T14:27:16.464" v="97" actId="20577"/>
          <ac:spMkLst>
            <pc:docMk/>
            <pc:sldMk cId="1674336802" sldId="2145706900"/>
            <ac:spMk id="27" creationId="{829BCA0A-B502-3348-9B5D-703589361A97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6E81234-9233-4EC6-9FA1-F58FDE42B7FF}" type="datetimeFigureOut">
              <a:rPr lang="en-US" smtClean="0"/>
              <a:t>5/26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655763" y="1143000"/>
            <a:ext cx="354647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E736D37-D59C-437A-85BE-0C5D093F320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623207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E736D37-D59C-437A-85BE-0C5D093F320E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78791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6.xml"/><Relationship Id="rId7" Type="http://schemas.openxmlformats.org/officeDocument/2006/relationships/tags" Target="../tags/tag30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tags" Target="../tags/tag29.xml"/><Relationship Id="rId5" Type="http://schemas.openxmlformats.org/officeDocument/2006/relationships/tags" Target="../tags/tag28.xml"/><Relationship Id="rId10" Type="http://schemas.openxmlformats.org/officeDocument/2006/relationships/image" Target="../media/image4.emf"/><Relationship Id="rId4" Type="http://schemas.openxmlformats.org/officeDocument/2006/relationships/tags" Target="../tags/tag27.xml"/><Relationship Id="rId9" Type="http://schemas.openxmlformats.org/officeDocument/2006/relationships/oleObject" Target="../embeddings/oleObject13.bin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tags" Target="../tags/tag38.xml"/><Relationship Id="rId13" Type="http://schemas.openxmlformats.org/officeDocument/2006/relationships/tags" Target="../tags/tag43.xml"/><Relationship Id="rId3" Type="http://schemas.openxmlformats.org/officeDocument/2006/relationships/tags" Target="../tags/tag33.xml"/><Relationship Id="rId7" Type="http://schemas.openxmlformats.org/officeDocument/2006/relationships/tags" Target="../tags/tag37.xml"/><Relationship Id="rId12" Type="http://schemas.openxmlformats.org/officeDocument/2006/relationships/tags" Target="../tags/tag42.xml"/><Relationship Id="rId17" Type="http://schemas.openxmlformats.org/officeDocument/2006/relationships/image" Target="../media/image5.emf"/><Relationship Id="rId2" Type="http://schemas.openxmlformats.org/officeDocument/2006/relationships/tags" Target="../tags/tag32.xml"/><Relationship Id="rId16" Type="http://schemas.openxmlformats.org/officeDocument/2006/relationships/oleObject" Target="../embeddings/oleObject14.bin"/><Relationship Id="rId1" Type="http://schemas.openxmlformats.org/officeDocument/2006/relationships/tags" Target="../tags/tag31.xml"/><Relationship Id="rId6" Type="http://schemas.openxmlformats.org/officeDocument/2006/relationships/tags" Target="../tags/tag36.xml"/><Relationship Id="rId11" Type="http://schemas.openxmlformats.org/officeDocument/2006/relationships/tags" Target="../tags/tag41.xml"/><Relationship Id="rId5" Type="http://schemas.openxmlformats.org/officeDocument/2006/relationships/tags" Target="../tags/tag35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40.xml"/><Relationship Id="rId4" Type="http://schemas.openxmlformats.org/officeDocument/2006/relationships/tags" Target="../tags/tag34.xml"/><Relationship Id="rId9" Type="http://schemas.openxmlformats.org/officeDocument/2006/relationships/tags" Target="../tags/tag39.xml"/><Relationship Id="rId14" Type="http://schemas.openxmlformats.org/officeDocument/2006/relationships/tags" Target="../tags/tag44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3.jpeg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jpeg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B1D6DC-7743-4CEF-84AB-567A192695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3249114"/>
              </p:ext>
            </p:extLst>
          </p:nvPr>
        </p:nvGraphicFramePr>
        <p:xfrm>
          <a:off x="1200" y="1842"/>
          <a:ext cx="1191" cy="184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26" imgH="526" progId="TCLayout.ActiveDocument.1">
                  <p:embed/>
                </p:oleObj>
              </mc:Choice>
              <mc:Fallback>
                <p:oleObj name="think-cell Slide" r:id="rId4" imgW="526" imgH="5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B1D6DC-7743-4CEF-84AB-567A192695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842"/>
                        <a:ext cx="1191" cy="184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72315B8-4B9E-4631-9419-72DBA4226B2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1"/>
            <a:ext cx="119063" cy="18414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450" b="1" i="0" baseline="0"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1066809" y="265168"/>
            <a:ext cx="6512511" cy="1325827"/>
          </a:xfrm>
          <a:prstGeom prst="rect">
            <a:avLst/>
          </a:prstGeom>
        </p:spPr>
        <p:txBody>
          <a:bodyPr/>
          <a:lstStyle>
            <a:lvl1pPr>
              <a:defRPr>
                <a:effectLst>
                  <a:reflection blurRad="6350" endPos="0" dir="5400000" sy="-100000" algn="bl" rotWithShape="0"/>
                </a:effectLst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2298100"/>
            <a:ext cx="6400800" cy="403051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6435754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2F75DB45-0CB6-485B-A614-8C1B39D2CE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81939559"/>
              </p:ext>
            </p:extLst>
          </p:nvPr>
        </p:nvGraphicFramePr>
        <p:xfrm>
          <a:off x="1200" y="1842"/>
          <a:ext cx="1191" cy="184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26" imgH="526" progId="TCLayout.ActiveDocument.1">
                  <p:embed/>
                </p:oleObj>
              </mc:Choice>
              <mc:Fallback>
                <p:oleObj name="think-cell Slide" r:id="rId4" imgW="526" imgH="526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2F75DB45-0CB6-485B-A614-8C1B39D2CE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842"/>
                        <a:ext cx="1191" cy="184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1FB720ED-DE2D-4162-B30D-B4C3DE236D3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1"/>
            <a:ext cx="119063" cy="18414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450" b="1" i="0" baseline="0"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2079ADA-37E0-4A2E-B02F-AA943020C6DB}"/>
              </a:ext>
            </a:extLst>
          </p:cNvPr>
          <p:cNvSpPr/>
          <p:nvPr userDrawn="1"/>
        </p:nvSpPr>
        <p:spPr>
          <a:xfrm>
            <a:off x="0" y="4485448"/>
            <a:ext cx="9144000" cy="3469515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E457A0E-6675-451C-A8F6-03DF221E0C36}"/>
              </a:ext>
            </a:extLst>
          </p:cNvPr>
          <p:cNvSpPr/>
          <p:nvPr userDrawn="1"/>
        </p:nvSpPr>
        <p:spPr>
          <a:xfrm>
            <a:off x="0" y="0"/>
            <a:ext cx="9144000" cy="4485448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BB27B9E-9672-42F1-9F2D-A873B0D715F4}"/>
              </a:ext>
            </a:extLst>
          </p:cNvPr>
          <p:cNvSpPr/>
          <p:nvPr userDrawn="1"/>
        </p:nvSpPr>
        <p:spPr>
          <a:xfrm>
            <a:off x="0" y="3077025"/>
            <a:ext cx="9144000" cy="2651654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BA760FDB-C560-4A46-A430-D07F2A7CC0BD}"/>
              </a:ext>
            </a:extLst>
          </p:cNvPr>
          <p:cNvSpPr/>
          <p:nvPr userDrawn="1"/>
        </p:nvSpPr>
        <p:spPr>
          <a:xfrm>
            <a:off x="0" y="1856158"/>
            <a:ext cx="9144000" cy="5922028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325829"/>
            <a:ext cx="4114800" cy="3628110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 rtlCol="0">
            <a:normAutofit/>
            <a:flatTx/>
          </a:bodyPr>
          <a:lstStyle>
            <a:lvl1pPr marL="0" indent="0" algn="ctr">
              <a:buNone/>
              <a:defRPr sz="1500"/>
            </a:lvl1pPr>
            <a:lvl2pPr marL="342925" indent="0">
              <a:buNone/>
              <a:defRPr sz="2100"/>
            </a:lvl2pPr>
            <a:lvl3pPr marL="685849" indent="0">
              <a:buNone/>
              <a:defRPr sz="1800"/>
            </a:lvl3pPr>
            <a:lvl4pPr marL="1028774" indent="0">
              <a:buNone/>
              <a:defRPr sz="1500"/>
            </a:lvl4pPr>
            <a:lvl5pPr marL="1371699" indent="0">
              <a:buNone/>
              <a:defRPr sz="1500"/>
            </a:lvl5pPr>
            <a:lvl6pPr marL="1714625" indent="0">
              <a:buNone/>
              <a:defRPr sz="1500"/>
            </a:lvl6pPr>
            <a:lvl7pPr marL="2057549" indent="0">
              <a:buNone/>
              <a:defRPr sz="1500"/>
            </a:lvl7pPr>
            <a:lvl8pPr marL="2400474" indent="0">
              <a:buNone/>
              <a:defRPr sz="1500"/>
            </a:lvl8pPr>
            <a:lvl9pPr marL="2743399" indent="0">
              <a:buNone/>
              <a:defRPr sz="1500"/>
            </a:lvl9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96" y="1172118"/>
            <a:ext cx="3694113" cy="2509003"/>
          </a:xfrm>
          <a:prstGeom prst="rect">
            <a:avLst/>
          </a:prstGeom>
        </p:spPr>
        <p:txBody>
          <a:bodyPr anchor="b"/>
          <a:lstStyle>
            <a:lvl1pPr marL="137171" indent="-137171">
              <a:buFont typeface="Georgia" pitchFamily="18" charset="0"/>
              <a:buChar char="*"/>
              <a:defRPr sz="1201"/>
            </a:lvl1pPr>
            <a:lvl2pPr marL="342925" indent="0">
              <a:buNone/>
              <a:defRPr sz="900"/>
            </a:lvl2pPr>
            <a:lvl3pPr marL="685849" indent="0">
              <a:buNone/>
              <a:defRPr sz="751"/>
            </a:lvl3pPr>
            <a:lvl4pPr marL="1028774" indent="0">
              <a:buNone/>
              <a:defRPr sz="675"/>
            </a:lvl4pPr>
            <a:lvl5pPr marL="1371699" indent="0">
              <a:buNone/>
              <a:defRPr sz="675"/>
            </a:lvl5pPr>
            <a:lvl6pPr marL="1714625" indent="0">
              <a:buNone/>
              <a:defRPr sz="675"/>
            </a:lvl6pPr>
            <a:lvl7pPr marL="2057549" indent="0">
              <a:buNone/>
              <a:defRPr sz="675"/>
            </a:lvl7pPr>
            <a:lvl8pPr marL="2400474" indent="0">
              <a:buNone/>
              <a:defRPr sz="675"/>
            </a:lvl8pPr>
            <a:lvl9pPr marL="2743399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76" y="5178522"/>
            <a:ext cx="6383539" cy="1325827"/>
          </a:xfrm>
          <a:prstGeom prst="rect">
            <a:avLst/>
          </a:prstGeom>
        </p:spPr>
        <p:txBody>
          <a:bodyPr anchor="b"/>
          <a:lstStyle>
            <a:lvl1pPr algn="l">
              <a:defRPr sz="345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Date Placeholder 4">
            <a:extLst>
              <a:ext uri="{FF2B5EF4-FFF2-40B4-BE49-F238E27FC236}">
                <a16:creationId xmlns:a16="http://schemas.microsoft.com/office/drawing/2014/main" id="{8CD0423C-0648-4B92-920D-DB4F00C43B5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172200" y="7159473"/>
            <a:ext cx="2514600" cy="42352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B54FE36-D503-42E2-B07B-6D14ABB7B3DC}" type="datetimeFigureOut">
              <a:rPr lang="en-US"/>
              <a:pPr>
                <a:defRPr/>
              </a:pPr>
              <a:t>5/26/2021</a:t>
            </a:fld>
            <a:endParaRPr lang="en-US"/>
          </a:p>
        </p:txBody>
      </p:sp>
      <p:sp>
        <p:nvSpPr>
          <p:cNvPr id="10" name="Footer Placeholder 5">
            <a:extLst>
              <a:ext uri="{FF2B5EF4-FFF2-40B4-BE49-F238E27FC236}">
                <a16:creationId xmlns:a16="http://schemas.microsoft.com/office/drawing/2014/main" id="{24461F20-9F40-450B-ADF3-BD2D5716B0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7200" y="7159473"/>
            <a:ext cx="3352800" cy="42352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91653643-812C-4E3F-BCB3-215DE55ED0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810000" y="7159473"/>
            <a:ext cx="1828800" cy="423528"/>
          </a:xfrm>
          <a:prstGeom prst="rect">
            <a:avLst/>
          </a:prstGeo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CA845308-75CF-4A60-8C32-821E0B7AED68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31733413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08084" y="62611"/>
            <a:ext cx="6511925" cy="132582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848528"/>
            <a:ext cx="6400800" cy="403051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0648257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F3307C3-07EF-475D-9D92-E2A64A18B4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7148292"/>
              </p:ext>
            </p:extLst>
          </p:nvPr>
        </p:nvGraphicFramePr>
        <p:xfrm>
          <a:off x="1200" y="1842"/>
          <a:ext cx="1191" cy="184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26" imgH="526" progId="TCLayout.ActiveDocument.1">
                  <p:embed/>
                </p:oleObj>
              </mc:Choice>
              <mc:Fallback>
                <p:oleObj name="think-cell Slide" r:id="rId4" imgW="526" imgH="52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F3307C3-07EF-475D-9D92-E2A64A18B4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842"/>
                        <a:ext cx="1191" cy="184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05D5D6F-A8F2-4CD2-B261-581E2C09039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1"/>
            <a:ext cx="119063" cy="18414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450" b="1" i="0" baseline="0"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9" y="436752"/>
            <a:ext cx="2057400" cy="6076231"/>
          </a:xfrm>
          <a:prstGeom prst="rect">
            <a:avLst/>
          </a:prstGeo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23" y="848538"/>
            <a:ext cx="4829287" cy="5677659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6339662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59582090"/>
              </p:ext>
            </p:extLst>
          </p:nvPr>
        </p:nvGraphicFramePr>
        <p:xfrm>
          <a:off x="1200" y="1842"/>
          <a:ext cx="1191" cy="184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200" y="1842"/>
                        <a:ext cx="1191" cy="184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1"/>
            <a:ext cx="119063" cy="18414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875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914401" y="199758"/>
            <a:ext cx="7813548" cy="848529"/>
          </a:xfrm>
          <a:prstGeom prst="rect">
            <a:avLst/>
          </a:prstGeom>
        </p:spPr>
        <p:txBody>
          <a:bodyPr vert="horz" anchor="b"/>
          <a:lstStyle>
            <a:lvl1pPr>
              <a:defRPr sz="2700">
                <a:solidFill>
                  <a:srgbClr val="000000"/>
                </a:solidFill>
                <a:effectLst/>
              </a:defRPr>
            </a:lvl1pPr>
          </a:lstStyle>
          <a:p>
            <a:r>
              <a:rPr lang="en-US"/>
              <a:t>Sample headline 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914401" y="972282"/>
            <a:ext cx="7813548" cy="299587"/>
          </a:xfrm>
        </p:spPr>
        <p:txBody>
          <a:bodyPr wrap="square">
            <a:noAutofit/>
          </a:bodyPr>
          <a:lstStyle>
            <a:lvl1pPr marL="0" indent="0" algn="l">
              <a:buNone/>
              <a:defRPr sz="1350" b="0">
                <a:solidFill>
                  <a:schemeClr val="tx1"/>
                </a:solidFill>
              </a:defRPr>
            </a:lvl1pPr>
            <a:lvl2pPr marL="342925" indent="0" algn="ctr">
              <a:buNone/>
              <a:defRPr sz="1500"/>
            </a:lvl2pPr>
            <a:lvl3pPr marL="685849" indent="0" algn="ctr">
              <a:buNone/>
              <a:defRPr sz="1350"/>
            </a:lvl3pPr>
            <a:lvl4pPr marL="1028774" indent="0" algn="ctr">
              <a:buNone/>
              <a:defRPr sz="1201"/>
            </a:lvl4pPr>
            <a:lvl5pPr marL="1371699" indent="0" algn="ctr">
              <a:buNone/>
              <a:defRPr sz="1201"/>
            </a:lvl5pPr>
            <a:lvl6pPr marL="1714625" indent="0" algn="ctr">
              <a:buNone/>
              <a:defRPr sz="1201"/>
            </a:lvl6pPr>
            <a:lvl7pPr marL="2057549" indent="0" algn="ctr">
              <a:buNone/>
              <a:defRPr sz="1201"/>
            </a:lvl7pPr>
            <a:lvl8pPr marL="2400474" indent="0" algn="ctr">
              <a:buNone/>
              <a:defRPr sz="1201"/>
            </a:lvl8pPr>
            <a:lvl9pPr marL="2743399" indent="0" algn="ctr">
              <a:buNone/>
              <a:defRPr sz="1201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402" y="7595039"/>
            <a:ext cx="244125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9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75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91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75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3" y="754164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6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5367529" y="103613"/>
            <a:ext cx="3360420" cy="142803"/>
          </a:xfrm>
        </p:spPr>
        <p:txBody>
          <a:bodyPr anchor="ctr" anchorCtr="0">
            <a:spAutoFit/>
          </a:bodyPr>
          <a:lstStyle>
            <a:lvl1pPr marL="34531" indent="0" algn="r">
              <a:buNone/>
              <a:defRPr sz="600">
                <a:latin typeface="+mn-lt"/>
              </a:defRPr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71102632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92279592"/>
              </p:ext>
            </p:extLst>
          </p:nvPr>
        </p:nvGraphicFramePr>
        <p:xfrm>
          <a:off x="1200" y="1842"/>
          <a:ext cx="1191" cy="184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572" imgH="588" progId="TCLayout.ActiveDocument.1">
                  <p:embed/>
                </p:oleObj>
              </mc:Choice>
              <mc:Fallback>
                <p:oleObj name="think-cell Slide" r:id="rId16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200" y="1842"/>
                        <a:ext cx="1191" cy="184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8F8ABD0-305F-4DFC-AC60-1FB7BB16830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1"/>
            <a:ext cx="119063" cy="18414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875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16053" y="199758"/>
            <a:ext cx="5225796" cy="848529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5872741" y="0"/>
            <a:ext cx="3271267" cy="7954963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1" rIns="68580" bIns="342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7623719" y="7595766"/>
            <a:ext cx="817531" cy="103875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6858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75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84402" y="7595039"/>
            <a:ext cx="244125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9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75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91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75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6130036" y="7486074"/>
            <a:ext cx="2599183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16053" y="7486074"/>
            <a:ext cx="522579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6130036" y="1370956"/>
            <a:ext cx="2599183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416053" y="1370956"/>
            <a:ext cx="522579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416053" y="1370956"/>
            <a:ext cx="522579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416053" y="1026243"/>
            <a:ext cx="5225796" cy="321306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350" b="0">
                <a:solidFill>
                  <a:schemeClr val="tx1"/>
                </a:solidFill>
              </a:defRPr>
            </a:lvl1pPr>
            <a:lvl2pPr marL="342925" indent="0" algn="ctr">
              <a:buNone/>
              <a:defRPr sz="1500"/>
            </a:lvl2pPr>
            <a:lvl3pPr marL="685849" indent="0" algn="ctr">
              <a:buNone/>
              <a:defRPr sz="1350"/>
            </a:lvl3pPr>
            <a:lvl4pPr marL="1028774" indent="0" algn="ctr">
              <a:buNone/>
              <a:defRPr sz="1201"/>
            </a:lvl4pPr>
            <a:lvl5pPr marL="1371699" indent="0" algn="ctr">
              <a:buNone/>
              <a:defRPr sz="1201"/>
            </a:lvl5pPr>
            <a:lvl6pPr marL="1714625" indent="0" algn="ctr">
              <a:buNone/>
              <a:defRPr sz="1201"/>
            </a:lvl6pPr>
            <a:lvl7pPr marL="2057549" indent="0" algn="ctr">
              <a:buNone/>
              <a:defRPr sz="1201"/>
            </a:lvl7pPr>
            <a:lvl8pPr marL="2400474" indent="0" algn="ctr">
              <a:buNone/>
              <a:defRPr sz="1201"/>
            </a:lvl8pPr>
            <a:lvl9pPr marL="2743399" indent="0" algn="ctr">
              <a:buNone/>
              <a:defRPr sz="1201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416053" y="7541642"/>
            <a:ext cx="5225798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600"/>
              <a:t>Source: …</a:t>
            </a:r>
          </a:p>
        </p:txBody>
      </p:sp>
      <p:sp>
        <p:nvSpPr>
          <p:cNvPr id="22" name="1. On-page tracker">
            <a:extLst>
              <a:ext uri="{FF2B5EF4-FFF2-40B4-BE49-F238E27FC236}">
                <a16:creationId xmlns:a16="http://schemas.microsoft.com/office/drawing/2014/main" id="{C9F4B9E2-8CBE-4C72-8316-55D330991DCD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6131060" y="82677"/>
            <a:ext cx="2599183" cy="184666"/>
          </a:xfrm>
          <a:prstGeom prst="rect">
            <a:avLst/>
          </a:prstGeom>
        </p:spPr>
        <p:txBody>
          <a:bodyPr anchor="ctr" anchorCtr="0">
            <a:spAutoFit/>
          </a:bodyPr>
          <a:lstStyle>
            <a:lvl1pPr algn="r">
              <a:defRPr sz="6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6259208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>
            <a:extLst>
              <a:ext uri="{FF2B5EF4-FFF2-40B4-BE49-F238E27FC236}">
                <a16:creationId xmlns:a16="http://schemas.microsoft.com/office/drawing/2014/main" id="{4A5EEFC9-3F91-40F9-96FA-9ED93BF3EC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75965165"/>
              </p:ext>
            </p:extLst>
          </p:nvPr>
        </p:nvGraphicFramePr>
        <p:xfrm>
          <a:off x="1590" y="1842"/>
          <a:ext cx="1588" cy="184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26" imgH="526" progId="TCLayout.ActiveDocument.1">
                  <p:embed/>
                </p:oleObj>
              </mc:Choice>
              <mc:Fallback>
                <p:oleObj name="think-cell Slide" r:id="rId3" imgW="526" imgH="526" progId="TCLayout.ActiveDocument.1">
                  <p:embed/>
                  <p:pic>
                    <p:nvPicPr>
                      <p:cNvPr id="16" name="Object 15" hidden="1">
                        <a:extLst>
                          <a:ext uri="{FF2B5EF4-FFF2-40B4-BE49-F238E27FC236}">
                            <a16:creationId xmlns:a16="http://schemas.microsoft.com/office/drawing/2014/main" id="{4A5EEFC9-3F91-40F9-96FA-9ED93BF3EC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842"/>
                        <a:ext cx="1588" cy="184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>
            <a:extLst>
              <a:ext uri="{FF2B5EF4-FFF2-40B4-BE49-F238E27FC236}">
                <a16:creationId xmlns:a16="http://schemas.microsoft.com/office/drawing/2014/main" id="{0DE8251B-433C-435A-8A1F-3038E1FCFD0E}"/>
              </a:ext>
            </a:extLst>
          </p:cNvPr>
          <p:cNvSpPr/>
          <p:nvPr userDrawn="1"/>
        </p:nvSpPr>
        <p:spPr>
          <a:xfrm>
            <a:off x="0" y="1"/>
            <a:ext cx="9144000" cy="677762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1" rIns="68580" bIns="3429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0EB75DD-E06D-4C2D-A671-946F1B904CE9}"/>
              </a:ext>
            </a:extLst>
          </p:cNvPr>
          <p:cNvSpPr/>
          <p:nvPr userDrawn="1"/>
        </p:nvSpPr>
        <p:spPr>
          <a:xfrm>
            <a:off x="0" y="6805913"/>
            <a:ext cx="9144000" cy="114905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50800" dir="5400000" algn="ctr" rotWithShape="0">
              <a:srgbClr val="000000">
                <a:alpha val="0"/>
              </a:srgbClr>
            </a:outerShd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b="1">
                <a:solidFill>
                  <a:schemeClr val="accent4"/>
                </a:solidFill>
              </a:rPr>
              <a:t>Connecticut Department of Public Health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1" i="1">
                <a:solidFill>
                  <a:schemeClr val="accent4"/>
                </a:solidFill>
              </a:rPr>
              <a:t>Keeping Connecticut Healthy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4258AF9-0B37-4898-B11A-8013986126C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228607" y="6894302"/>
            <a:ext cx="628651" cy="943989"/>
          </a:xfrm>
          <a:prstGeom prst="rect">
            <a:avLst/>
          </a:prstGeom>
          <a:effectLst>
            <a:softEdge rad="0"/>
          </a:effectLst>
        </p:spPr>
      </p:pic>
      <p:pic>
        <p:nvPicPr>
          <p:cNvPr id="10" name="Picture 7" descr="CTSeal_BW">
            <a:extLst>
              <a:ext uri="{FF2B5EF4-FFF2-40B4-BE49-F238E27FC236}">
                <a16:creationId xmlns:a16="http://schemas.microsoft.com/office/drawing/2014/main" id="{E235F1A7-9D33-40DB-A582-E5A0548E104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8210558" y="6894302"/>
            <a:ext cx="628651" cy="943989"/>
          </a:xfrm>
          <a:prstGeom prst="rect">
            <a:avLst/>
          </a:prstGeom>
          <a:noFill/>
          <a:ln w="9525" algn="in">
            <a:noFill/>
            <a:miter lim="800000"/>
            <a:headEnd/>
            <a:tailEnd/>
          </a:ln>
          <a:effectLst>
            <a:softEdge rad="0"/>
          </a:effectLst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4C360F7-F812-4C9B-9D62-069727A9496D}"/>
              </a:ext>
            </a:extLst>
          </p:cNvPr>
          <p:cNvCxnSpPr/>
          <p:nvPr userDrawn="1"/>
        </p:nvCxnSpPr>
        <p:spPr>
          <a:xfrm>
            <a:off x="0" y="6805913"/>
            <a:ext cx="9144000" cy="0"/>
          </a:xfrm>
          <a:prstGeom prst="line">
            <a:avLst/>
          </a:prstGeom>
          <a:ln w="635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804" y="4437128"/>
            <a:ext cx="5637009" cy="102321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650">
                <a:solidFill>
                  <a:schemeClr val="tx2"/>
                </a:solidFill>
              </a:defRPr>
            </a:lvl1pPr>
            <a:lvl2pPr marL="3429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6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5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4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3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39295F2B-52CA-4FF2-9EEF-C5D70D66E3E6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473804" y="2725527"/>
            <a:ext cx="5637009" cy="10232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80" tIns="34291" rIns="68580" bIns="34291" numCol="1" anchor="t" anchorCtr="0" compatLnSpc="1">
            <a:prstTxWarp prst="textNoShape">
              <a:avLst/>
            </a:prstTxWarp>
            <a:noAutofit/>
          </a:bodyPr>
          <a:lstStyle>
            <a:lvl1pPr marL="0" indent="0" algn="l" rtl="0" eaLnBrk="0" fontAlgn="base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None/>
              <a:defRPr sz="2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indent="0" algn="ctr" rtl="0" eaLnBrk="0" fontAlgn="base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rtl="0" eaLnBrk="0" fontAlgn="base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None/>
              <a:defRPr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rtl="0" eaLnBrk="0" fontAlgn="base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rtl="0" eaLnBrk="0" fontAlgn="base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700" b="1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7764924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BD0C753-2C7A-4403-93A8-FD250D5940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8097602"/>
              </p:ext>
            </p:extLst>
          </p:nvPr>
        </p:nvGraphicFramePr>
        <p:xfrm>
          <a:off x="1200" y="1842"/>
          <a:ext cx="1191" cy="184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26" imgH="526" progId="TCLayout.ActiveDocument.1">
                  <p:embed/>
                </p:oleObj>
              </mc:Choice>
              <mc:Fallback>
                <p:oleObj name="think-cell Slide" r:id="rId4" imgW="526" imgH="5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BD0C753-2C7A-4403-93A8-FD250D5940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842"/>
                        <a:ext cx="1191" cy="184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FE1D034B-FB9C-496C-B1B8-998CC6E2534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1"/>
            <a:ext cx="119063" cy="18414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450" b="1" i="0" baseline="0"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08084" y="62611"/>
            <a:ext cx="6511925" cy="1325827"/>
          </a:xfrm>
          <a:prstGeom prst="rect">
            <a:avLst/>
          </a:prstGeom>
        </p:spPr>
        <p:txBody>
          <a:bodyPr/>
          <a:lstStyle>
            <a:lvl1pPr>
              <a:defRPr>
                <a:effectLst>
                  <a:reflection blurRad="6350" endPos="0" dir="5400000" sy="-100000" algn="bl" rotWithShape="0"/>
                </a:effectLst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1910C74D-CD76-4388-9FC9-ECA7277906D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57200" y="7159473"/>
            <a:ext cx="3352800" cy="42352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Slide Number Placeholder 4">
            <a:extLst>
              <a:ext uri="{FF2B5EF4-FFF2-40B4-BE49-F238E27FC236}">
                <a16:creationId xmlns:a16="http://schemas.microsoft.com/office/drawing/2014/main" id="{91EC2F39-B920-40F0-8A32-F957BA63123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810000" y="7159473"/>
            <a:ext cx="1828800" cy="423528"/>
          </a:xfrm>
          <a:prstGeom prst="rect">
            <a:avLst/>
          </a:prstGeo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C4CA3D15-2FDF-4B8B-A152-EE70842600B6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29245198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>
            <a:extLst>
              <a:ext uri="{FF2B5EF4-FFF2-40B4-BE49-F238E27FC236}">
                <a16:creationId xmlns:a16="http://schemas.microsoft.com/office/drawing/2014/main" id="{75AA3134-21E1-4E63-8DC6-425FAF68F0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61146861"/>
              </p:ext>
            </p:extLst>
          </p:nvPr>
        </p:nvGraphicFramePr>
        <p:xfrm>
          <a:off x="1200" y="1842"/>
          <a:ext cx="1191" cy="184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26" imgH="526" progId="TCLayout.ActiveDocument.1">
                  <p:embed/>
                </p:oleObj>
              </mc:Choice>
              <mc:Fallback>
                <p:oleObj name="think-cell Slide" r:id="rId4" imgW="526" imgH="526" progId="TCLayout.ActiveDocument.1">
                  <p:embed/>
                  <p:pic>
                    <p:nvPicPr>
                      <p:cNvPr id="16" name="Object 15" hidden="1">
                        <a:extLst>
                          <a:ext uri="{FF2B5EF4-FFF2-40B4-BE49-F238E27FC236}">
                            <a16:creationId xmlns:a16="http://schemas.microsoft.com/office/drawing/2014/main" id="{75AA3134-21E1-4E63-8DC6-425FAF68F0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842"/>
                        <a:ext cx="1191" cy="184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 hidden="1">
            <a:extLst>
              <a:ext uri="{FF2B5EF4-FFF2-40B4-BE49-F238E27FC236}">
                <a16:creationId xmlns:a16="http://schemas.microsoft.com/office/drawing/2014/main" id="{F0A9A58F-02A2-4A91-9DF2-FC7B2826104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1"/>
            <a:ext cx="119063" cy="18414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450" b="1" i="0" baseline="0"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1150F7F-D229-44C5-904A-A02BC14A5027}"/>
              </a:ext>
            </a:extLst>
          </p:cNvPr>
          <p:cNvSpPr/>
          <p:nvPr/>
        </p:nvSpPr>
        <p:spPr>
          <a:xfrm>
            <a:off x="0" y="4485448"/>
            <a:ext cx="9144000" cy="3469515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E19529E-C455-4765-A8D2-6FB7F910EDAA}"/>
              </a:ext>
            </a:extLst>
          </p:cNvPr>
          <p:cNvSpPr/>
          <p:nvPr/>
        </p:nvSpPr>
        <p:spPr>
          <a:xfrm>
            <a:off x="0" y="0"/>
            <a:ext cx="9144000" cy="4485448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07BCE95-BA0F-446E-AE58-C9A0863CCD41}"/>
              </a:ext>
            </a:extLst>
          </p:cNvPr>
          <p:cNvSpPr/>
          <p:nvPr/>
        </p:nvSpPr>
        <p:spPr>
          <a:xfrm>
            <a:off x="0" y="3077025"/>
            <a:ext cx="9144000" cy="2651654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12A95C5B-87C2-4936-8BC8-47BF271670C1}"/>
              </a:ext>
            </a:extLst>
          </p:cNvPr>
          <p:cNvSpPr/>
          <p:nvPr userDrawn="1"/>
        </p:nvSpPr>
        <p:spPr>
          <a:xfrm>
            <a:off x="0" y="1856158"/>
            <a:ext cx="9144000" cy="5922028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18F0320-4489-4F4E-8706-5C555FDDAA49}"/>
              </a:ext>
            </a:extLst>
          </p:cNvPr>
          <p:cNvSpPr/>
          <p:nvPr userDrawn="1"/>
        </p:nvSpPr>
        <p:spPr>
          <a:xfrm>
            <a:off x="0" y="6769519"/>
            <a:ext cx="9144000" cy="114905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50800" dir="5400000" algn="ctr" rotWithShape="0">
              <a:srgbClr val="000000">
                <a:alpha val="0"/>
              </a:srgbClr>
            </a:outerShd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b="1">
                <a:solidFill>
                  <a:schemeClr val="accent4"/>
                </a:solidFill>
              </a:rPr>
              <a:t>Connecticut Department of Public Health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1" i="1">
                <a:solidFill>
                  <a:schemeClr val="accent4"/>
                </a:solidFill>
              </a:rPr>
              <a:t>Keeping  Connecticut Healthy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3DB541C-5FC2-45E7-9E30-DD18711F922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228607" y="6857910"/>
            <a:ext cx="628651" cy="943989"/>
          </a:xfrm>
          <a:prstGeom prst="rect">
            <a:avLst/>
          </a:prstGeom>
          <a:effectLst>
            <a:softEdge rad="0"/>
          </a:effectLst>
        </p:spPr>
      </p:pic>
      <p:pic>
        <p:nvPicPr>
          <p:cNvPr id="10" name="Picture 7" descr="CTSeal_BW">
            <a:extLst>
              <a:ext uri="{FF2B5EF4-FFF2-40B4-BE49-F238E27FC236}">
                <a16:creationId xmlns:a16="http://schemas.microsoft.com/office/drawing/2014/main" id="{52D2363A-0D71-4495-A721-F24BA19CF35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8097912" y="6857910"/>
            <a:ext cx="741297" cy="943989"/>
          </a:xfrm>
          <a:prstGeom prst="rect">
            <a:avLst/>
          </a:prstGeom>
          <a:noFill/>
          <a:ln w="9525" algn="in">
            <a:noFill/>
            <a:miter lim="800000"/>
            <a:headEnd/>
            <a:tailEnd/>
          </a:ln>
          <a:effectLst>
            <a:softEdge rad="0"/>
          </a:effectLst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6471EB3-D4BA-4764-947A-CFEFD3560307}"/>
              </a:ext>
            </a:extLst>
          </p:cNvPr>
          <p:cNvCxnSpPr/>
          <p:nvPr userDrawn="1"/>
        </p:nvCxnSpPr>
        <p:spPr>
          <a:xfrm>
            <a:off x="0" y="6717524"/>
            <a:ext cx="9144000" cy="0"/>
          </a:xfrm>
          <a:prstGeom prst="line">
            <a:avLst/>
          </a:prstGeom>
          <a:ln w="635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203" y="2520171"/>
            <a:ext cx="5966667" cy="2810969"/>
          </a:xfrm>
          <a:prstGeom prst="rect">
            <a:avLst/>
          </a:prstGeom>
          <a:effectLst/>
        </p:spPr>
        <p:txBody>
          <a:bodyPr anchor="b"/>
          <a:lstStyle>
            <a:lvl1pPr algn="r">
              <a:defRPr sz="3450" b="1" cap="none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47" y="5344501"/>
            <a:ext cx="5970495" cy="969095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500">
                <a:solidFill>
                  <a:schemeClr val="tx2"/>
                </a:solidFill>
              </a:defRPr>
            </a:lvl1pPr>
            <a:lvl2pPr marL="342925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49" indent="0">
              <a:buNone/>
              <a:defRPr sz="1201">
                <a:solidFill>
                  <a:schemeClr val="tx1">
                    <a:tint val="75000"/>
                  </a:schemeClr>
                </a:solidFill>
              </a:defRPr>
            </a:lvl3pPr>
            <a:lvl4pPr marL="1028774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99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625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549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474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399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A625EBBC-9FC4-4DA9-983F-25EC89735D8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172200" y="7122647"/>
            <a:ext cx="2514600" cy="423528"/>
          </a:xfrm>
          <a:prstGeom prst="rect">
            <a:avLst/>
          </a:prstGeom>
        </p:spPr>
        <p:txBody>
          <a:bodyPr/>
          <a:lstStyle>
            <a:lvl1pPr algn="r">
              <a:defRPr sz="825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60EB4527-36F9-44E9-8215-F3E6AE599ADC}" type="datetimeFigureOut">
              <a:rPr lang="en-US"/>
              <a:pPr>
                <a:defRPr/>
              </a:pPr>
              <a:t>5/26/2021</a:t>
            </a:fld>
            <a:endParaRPr lang="en-US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46A0B262-C744-42C3-AC4E-1216607BB9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7200" y="7122647"/>
            <a:ext cx="3352800" cy="423528"/>
          </a:xfrm>
          <a:prstGeom prst="rect">
            <a:avLst/>
          </a:prstGeom>
        </p:spPr>
        <p:txBody>
          <a:bodyPr/>
          <a:lstStyle>
            <a:lvl1pPr algn="l">
              <a:defRPr sz="825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D766083D-CF40-4FA3-B48A-5BE24CE5D7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810000" y="7122647"/>
            <a:ext cx="1828800" cy="423528"/>
          </a:xfrm>
          <a:prstGeom prst="rect">
            <a:avLst/>
          </a:prstGeo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E7CCF707-23F4-470D-89BA-58959880F424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833995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9BEE4E2-931D-403D-9702-78DCE7106E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64448376"/>
              </p:ext>
            </p:extLst>
          </p:nvPr>
        </p:nvGraphicFramePr>
        <p:xfrm>
          <a:off x="1200" y="1842"/>
          <a:ext cx="1191" cy="184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26" imgH="526" progId="TCLayout.ActiveDocument.1">
                  <p:embed/>
                </p:oleObj>
              </mc:Choice>
              <mc:Fallback>
                <p:oleObj name="think-cell Slide" r:id="rId4" imgW="526" imgH="5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9BEE4E2-931D-403D-9702-78DCE7106E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842"/>
                        <a:ext cx="1191" cy="184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8662867-C2EE-46B8-B0EC-D138849B5EA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1"/>
            <a:ext cx="119063" cy="18414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450" b="1" i="0" baseline="0"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1108084" y="62611"/>
            <a:ext cx="6511925" cy="1325827"/>
          </a:xfrm>
          <a:prstGeom prst="rect">
            <a:avLst/>
          </a:prstGeom>
        </p:spPr>
        <p:txBody>
          <a:bodyPr/>
          <a:lstStyle>
            <a:lvl1pPr>
              <a:defRPr>
                <a:effectLst>
                  <a:reflection blurRad="6350" endPos="0" dir="5400000" sy="-100000" algn="bl" rotWithShape="0"/>
                </a:effectLst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1979903"/>
            <a:ext cx="3346704" cy="4030515"/>
          </a:xfrm>
          <a:prstGeom prst="rect">
            <a:avLst/>
          </a:prstGeo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1979904"/>
            <a:ext cx="3346704" cy="4030515"/>
          </a:xfrm>
          <a:prstGeom prst="rect">
            <a:avLst/>
          </a:prstGeom>
        </p:spPr>
        <p:txBody>
          <a:bodyPr/>
          <a:lstStyle>
            <a:lvl4pPr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0938004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982A017-AFBA-4940-80C6-55718AE6F9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65919195"/>
              </p:ext>
            </p:extLst>
          </p:nvPr>
        </p:nvGraphicFramePr>
        <p:xfrm>
          <a:off x="1200" y="1842"/>
          <a:ext cx="1191" cy="184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26" imgH="526" progId="TCLayout.ActiveDocument.1">
                  <p:embed/>
                </p:oleObj>
              </mc:Choice>
              <mc:Fallback>
                <p:oleObj name="think-cell Slide" r:id="rId4" imgW="526" imgH="52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982A017-AFBA-4940-80C6-55718AE6F9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842"/>
                        <a:ext cx="1191" cy="184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B34F12-809B-4B0C-846F-D87698C01D2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1"/>
            <a:ext cx="119063" cy="18414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450" b="1" i="0" baseline="0"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1909560"/>
            <a:ext cx="3346704" cy="742094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lang="en-US" sz="18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342925" indent="0">
              <a:buNone/>
              <a:defRPr sz="1500" b="1"/>
            </a:lvl2pPr>
            <a:lvl3pPr marL="685849" indent="0">
              <a:buNone/>
              <a:defRPr sz="1350" b="1"/>
            </a:lvl3pPr>
            <a:lvl4pPr marL="1028774" indent="0">
              <a:buNone/>
              <a:defRPr sz="1201" b="1"/>
            </a:lvl4pPr>
            <a:lvl5pPr marL="1371699" indent="0">
              <a:buNone/>
              <a:defRPr sz="1201" b="1"/>
            </a:lvl5pPr>
            <a:lvl6pPr marL="1714625" indent="0">
              <a:buNone/>
              <a:defRPr sz="1201" b="1"/>
            </a:lvl6pPr>
            <a:lvl7pPr marL="2057549" indent="0">
              <a:buNone/>
              <a:defRPr sz="1201" b="1"/>
            </a:lvl7pPr>
            <a:lvl8pPr marL="2400474" indent="0">
              <a:buNone/>
              <a:defRPr sz="1201" b="1"/>
            </a:lvl8pPr>
            <a:lvl9pPr marL="2743399" indent="0">
              <a:buNone/>
              <a:defRPr sz="1201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3181985"/>
            <a:ext cx="3346704" cy="318198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350"/>
            </a:lvl1pPr>
            <a:lvl2pPr>
              <a:defRPr sz="1350"/>
            </a:lvl2pPr>
            <a:lvl3pPr>
              <a:defRPr sz="1201"/>
            </a:lvl3pPr>
            <a:lvl4pPr>
              <a:defRPr sz="1201"/>
            </a:lvl4pPr>
            <a:lvl5pPr>
              <a:defRPr sz="1201"/>
            </a:lvl5pPr>
            <a:lvl6pPr>
              <a:defRPr sz="1201"/>
            </a:lvl6pPr>
            <a:lvl7pPr>
              <a:defRPr sz="1201"/>
            </a:lvl7pPr>
            <a:lvl8pPr>
              <a:defRPr sz="1201"/>
            </a:lvl8pPr>
            <a:lvl9pPr>
              <a:defRPr sz="120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3" y="1909560"/>
            <a:ext cx="3346704" cy="742094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lang="en-US" sz="18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342925" indent="0">
              <a:buNone/>
              <a:defRPr sz="1500" b="1"/>
            </a:lvl2pPr>
            <a:lvl3pPr marL="685849" indent="0">
              <a:buNone/>
              <a:defRPr sz="1350" b="1"/>
            </a:lvl3pPr>
            <a:lvl4pPr marL="1028774" indent="0">
              <a:buNone/>
              <a:defRPr sz="1201" b="1"/>
            </a:lvl4pPr>
            <a:lvl5pPr marL="1371699" indent="0">
              <a:buNone/>
              <a:defRPr sz="1201" b="1"/>
            </a:lvl5pPr>
            <a:lvl6pPr marL="1714625" indent="0">
              <a:buNone/>
              <a:defRPr sz="1201" b="1"/>
            </a:lvl6pPr>
            <a:lvl7pPr marL="2057549" indent="0">
              <a:buNone/>
              <a:defRPr sz="1201" b="1"/>
            </a:lvl7pPr>
            <a:lvl8pPr marL="2400474" indent="0">
              <a:buNone/>
              <a:defRPr sz="1201" b="1"/>
            </a:lvl8pPr>
            <a:lvl9pPr marL="2743399" indent="0">
              <a:buNone/>
              <a:defRPr sz="1201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3180483"/>
            <a:ext cx="3346704" cy="318198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350"/>
            </a:lvl1pPr>
            <a:lvl2pPr>
              <a:defRPr sz="1350"/>
            </a:lvl2pPr>
            <a:lvl3pPr>
              <a:defRPr sz="1201"/>
            </a:lvl3pPr>
            <a:lvl4pPr>
              <a:defRPr sz="1201"/>
            </a:lvl4pPr>
            <a:lvl5pPr>
              <a:defRPr sz="1201"/>
            </a:lvl5pPr>
            <a:lvl6pPr>
              <a:defRPr sz="1201"/>
            </a:lvl6pPr>
            <a:lvl7pPr>
              <a:defRPr sz="1201"/>
            </a:lvl7pPr>
            <a:lvl8pPr>
              <a:defRPr sz="1201"/>
            </a:lvl8pPr>
            <a:lvl9pPr>
              <a:defRPr sz="120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1108084" y="62611"/>
            <a:ext cx="6511925" cy="1325827"/>
          </a:xfrm>
          <a:prstGeom prst="rect">
            <a:avLst/>
          </a:prstGeom>
        </p:spPr>
        <p:txBody>
          <a:bodyPr/>
          <a:lstStyle>
            <a:lvl1pPr>
              <a:defRPr>
                <a:effectLst>
                  <a:reflection blurRad="6350" endPos="0" dir="5400000" sy="-100000" algn="bl" rotWithShape="0"/>
                </a:effectLst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8">
            <a:extLst>
              <a:ext uri="{FF2B5EF4-FFF2-40B4-BE49-F238E27FC236}">
                <a16:creationId xmlns:a16="http://schemas.microsoft.com/office/drawing/2014/main" id="{231F12E4-1EA6-4983-BA92-0EA77ECF17B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3810000" y="7159473"/>
            <a:ext cx="1828800" cy="423528"/>
          </a:xfrm>
          <a:prstGeom prst="rect">
            <a:avLst/>
          </a:prstGeo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D7CAADD3-329E-415F-932A-D24093DE457B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16203166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4A34DD7-536A-4158-84D3-4B6AF8E896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0968989"/>
              </p:ext>
            </p:extLst>
          </p:nvPr>
        </p:nvGraphicFramePr>
        <p:xfrm>
          <a:off x="1200" y="1842"/>
          <a:ext cx="1191" cy="184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26" imgH="526" progId="TCLayout.ActiveDocument.1">
                  <p:embed/>
                </p:oleObj>
              </mc:Choice>
              <mc:Fallback>
                <p:oleObj name="think-cell Slide" r:id="rId4" imgW="526" imgH="5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4A34DD7-536A-4158-84D3-4B6AF8E896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842"/>
                        <a:ext cx="1191" cy="184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8FC3F3B-FFBE-4884-877D-875214BCB30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1"/>
            <a:ext cx="119063" cy="18414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450" b="1" i="0" baseline="0"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08084" y="62611"/>
            <a:ext cx="6511925" cy="1325827"/>
          </a:xfrm>
          <a:prstGeom prst="rect">
            <a:avLst/>
          </a:prstGeom>
        </p:spPr>
        <p:txBody>
          <a:bodyPr/>
          <a:lstStyle>
            <a:lvl1pPr>
              <a:defRPr>
                <a:effectLst>
                  <a:reflection blurRad="6350" endPos="0" dir="5400000" sy="-100000" algn="bl" rotWithShape="0"/>
                </a:effectLst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0441690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317A390-B6D2-4598-8B51-7C4C60197E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0245473"/>
              </p:ext>
            </p:extLst>
          </p:nvPr>
        </p:nvGraphicFramePr>
        <p:xfrm>
          <a:off x="1200" y="1842"/>
          <a:ext cx="1191" cy="184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26" imgH="526" progId="TCLayout.ActiveDocument.1">
                  <p:embed/>
                </p:oleObj>
              </mc:Choice>
              <mc:Fallback>
                <p:oleObj name="think-cell Slide" r:id="rId3" imgW="526" imgH="5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317A390-B6D2-4598-8B51-7C4C60197E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00" y="1842"/>
                        <a:ext cx="1191" cy="184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F832AB50-4229-CD41-95C1-C11A7B12A5BA}"/>
              </a:ext>
            </a:extLst>
          </p:cNvPr>
          <p:cNvSpPr/>
          <p:nvPr userDrawn="1"/>
        </p:nvSpPr>
        <p:spPr>
          <a:xfrm>
            <a:off x="0" y="0"/>
            <a:ext cx="9144000" cy="17456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136659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A1BEDBE-A5DD-4D92-A709-22CF2B366E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6209328"/>
              </p:ext>
            </p:extLst>
          </p:nvPr>
        </p:nvGraphicFramePr>
        <p:xfrm>
          <a:off x="1200" y="1842"/>
          <a:ext cx="1191" cy="184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26" imgH="526" progId="TCLayout.ActiveDocument.1">
                  <p:embed/>
                </p:oleObj>
              </mc:Choice>
              <mc:Fallback>
                <p:oleObj name="think-cell Slide" r:id="rId4" imgW="526" imgH="5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A1BEDBE-A5DD-4D92-A709-22CF2B366E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842"/>
                        <a:ext cx="1191" cy="184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5357084-4FEE-47CC-92B9-388C3B2C8D4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1"/>
            <a:ext cx="119063" cy="18414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100" b="1" i="0" baseline="0"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6" y="3448877"/>
            <a:ext cx="3636086" cy="1459794"/>
          </a:xfrm>
          <a:prstGeom prst="rect">
            <a:avLst/>
          </a:prstGeom>
          <a:effectLst/>
        </p:spPr>
        <p:txBody>
          <a:bodyPr anchor="b"/>
          <a:lstStyle>
            <a:lvl1pPr marL="171462" indent="-171462" algn="l">
              <a:defRPr sz="2100" b="1">
                <a:effectLst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7" y="1734133"/>
            <a:ext cx="4017086" cy="5677661"/>
          </a:xfrm>
          <a:prstGeom prst="rect">
            <a:avLst/>
          </a:prstGeom>
        </p:spPr>
        <p:txBody>
          <a:bodyPr anchor="ctr"/>
          <a:lstStyle>
            <a:lvl1pPr>
              <a:defRPr sz="1650"/>
            </a:lvl1pPr>
            <a:lvl2pPr>
              <a:defRPr sz="1500"/>
            </a:lvl2pPr>
            <a:lvl3pPr>
              <a:defRPr sz="1350"/>
            </a:lvl3pPr>
            <a:lvl4pPr>
              <a:defRPr sz="1201"/>
            </a:lvl4pPr>
            <a:lvl5pPr>
              <a:defRPr sz="105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8" y="4942890"/>
            <a:ext cx="3388660" cy="248174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50"/>
            </a:lvl1pPr>
            <a:lvl2pPr marL="342925" indent="0">
              <a:buNone/>
              <a:defRPr sz="900"/>
            </a:lvl2pPr>
            <a:lvl3pPr marL="685849" indent="0">
              <a:buNone/>
              <a:defRPr sz="751"/>
            </a:lvl3pPr>
            <a:lvl4pPr marL="1028774" indent="0">
              <a:buNone/>
              <a:defRPr sz="675"/>
            </a:lvl4pPr>
            <a:lvl5pPr marL="1371699" indent="0">
              <a:buNone/>
              <a:defRPr sz="675"/>
            </a:lvl5pPr>
            <a:lvl6pPr marL="1714625" indent="0">
              <a:buNone/>
              <a:defRPr sz="675"/>
            </a:lvl6pPr>
            <a:lvl7pPr marL="2057549" indent="0">
              <a:buNone/>
              <a:defRPr sz="675"/>
            </a:lvl7pPr>
            <a:lvl8pPr marL="2400474" indent="0">
              <a:buNone/>
              <a:defRPr sz="675"/>
            </a:lvl8pPr>
            <a:lvl9pPr marL="2743399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5436793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20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D6C7E2EF-10C7-46FF-9637-18E30B02CC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185956573"/>
              </p:ext>
            </p:extLst>
          </p:nvPr>
        </p:nvGraphicFramePr>
        <p:xfrm>
          <a:off x="1590" y="1842"/>
          <a:ext cx="1588" cy="184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526" imgH="526" progId="TCLayout.ActiveDocument.1">
                  <p:embed/>
                </p:oleObj>
              </mc:Choice>
              <mc:Fallback>
                <p:oleObj name="think-cell Slide" r:id="rId18" imgW="526" imgH="526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D6C7E2EF-10C7-46FF-9637-18E30B02CC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90" y="1842"/>
                        <a:ext cx="1588" cy="184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34C4375-9E5A-4EC3-A5C6-C62C30A6E25F}"/>
              </a:ext>
            </a:extLst>
          </p:cNvPr>
          <p:cNvSpPr/>
          <p:nvPr userDrawn="1">
            <p:custDataLst>
              <p:tags r:id="rId17"/>
            </p:custDataLst>
          </p:nvPr>
        </p:nvSpPr>
        <p:spPr>
          <a:xfrm>
            <a:off x="9" y="1"/>
            <a:ext cx="158751" cy="18414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450" b="1" i="0" baseline="0"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B31B58B-1962-4D15-B432-304C1CE14063}"/>
              </a:ext>
            </a:extLst>
          </p:cNvPr>
          <p:cNvSpPr/>
          <p:nvPr userDrawn="1"/>
        </p:nvSpPr>
        <p:spPr>
          <a:xfrm>
            <a:off x="0" y="0"/>
            <a:ext cx="9144000" cy="141421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50800" dir="5400000" algn="ctr" rotWithShape="0">
              <a:srgbClr val="000000">
                <a:alpha val="0"/>
              </a:srgbClr>
            </a:outerShd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1" i="1">
              <a:solidFill>
                <a:schemeClr val="accent4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1D804D7-8D42-474E-96A2-98E97ED7B184}"/>
              </a:ext>
            </a:extLst>
          </p:cNvPr>
          <p:cNvPicPr>
            <a:picLocks noChangeAspect="1"/>
          </p:cNvPicPr>
          <p:nvPr/>
        </p:nvPicPr>
        <p:blipFill>
          <a:blip r:embed="rId20" cstate="print"/>
          <a:stretch>
            <a:fillRect/>
          </a:stretch>
        </p:blipFill>
        <p:spPr>
          <a:xfrm>
            <a:off x="257619" y="253530"/>
            <a:ext cx="592855" cy="943989"/>
          </a:xfrm>
          <a:prstGeom prst="rect">
            <a:avLst/>
          </a:prstGeom>
          <a:effectLst>
            <a:softEdge rad="0"/>
          </a:effectLst>
        </p:spPr>
      </p:pic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4EC646-6849-42BE-9EC8-EB3756D156E9}"/>
              </a:ext>
            </a:extLst>
          </p:cNvPr>
          <p:cNvCxnSpPr/>
          <p:nvPr/>
        </p:nvCxnSpPr>
        <p:spPr>
          <a:xfrm>
            <a:off x="0" y="1414216"/>
            <a:ext cx="9144000" cy="0"/>
          </a:xfrm>
          <a:prstGeom prst="line">
            <a:avLst/>
          </a:prstGeom>
          <a:ln w="635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  <p:sldLayoutId id="2147483720" r:id="rId12"/>
    <p:sldLayoutId id="2147483722" r:id="rId13"/>
    <p:sldLayoutId id="2147483723" r:id="rId14"/>
  </p:sldLayoutIdLst>
  <p:txStyles>
    <p:titleStyle>
      <a:lvl1pPr marL="0" indent="0" algn="l" rtl="0" eaLnBrk="0" fontAlgn="base" hangingPunct="0">
        <a:spcBef>
          <a:spcPct val="0"/>
        </a:spcBef>
        <a:spcAft>
          <a:spcPct val="0"/>
        </a:spcAft>
        <a:buClr>
          <a:srgbClr val="C3260C"/>
        </a:buClr>
        <a:buSzPct val="128000"/>
        <a:buFont typeface="Georgia" panose="02040502050405020303" pitchFamily="18" charset="0"/>
        <a:buNone/>
        <a:defRPr sz="3450" b="1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Calibri" panose="020F0502020204030204" pitchFamily="34" charset="0"/>
          <a:ea typeface="+mj-ea"/>
          <a:cs typeface="Calibri" panose="020F0502020204030204" pitchFamily="34" charset="0"/>
        </a:defRPr>
      </a:lvl1pPr>
      <a:lvl2pPr marL="239334" indent="-239334" algn="r" rtl="0" eaLnBrk="0" fontAlgn="base" hangingPunct="0">
        <a:spcBef>
          <a:spcPct val="0"/>
        </a:spcBef>
        <a:spcAft>
          <a:spcPct val="0"/>
        </a:spcAft>
        <a:buClr>
          <a:srgbClr val="C3260C"/>
        </a:buClr>
        <a:buSzPct val="128000"/>
        <a:buFont typeface="Georgia" panose="02040502050405020303" pitchFamily="18" charset="0"/>
        <a:buChar char="*"/>
        <a:defRPr sz="3450" b="1">
          <a:solidFill>
            <a:schemeClr val="tx1"/>
          </a:solidFill>
          <a:latin typeface="Trebuchet MS" panose="020B0603020202020204" pitchFamily="34" charset="0"/>
        </a:defRPr>
      </a:lvl2pPr>
      <a:lvl3pPr marL="239334" indent="-239334" algn="r" rtl="0" eaLnBrk="0" fontAlgn="base" hangingPunct="0">
        <a:spcBef>
          <a:spcPct val="0"/>
        </a:spcBef>
        <a:spcAft>
          <a:spcPct val="0"/>
        </a:spcAft>
        <a:buClr>
          <a:srgbClr val="C3260C"/>
        </a:buClr>
        <a:buSzPct val="128000"/>
        <a:buFont typeface="Georgia" panose="02040502050405020303" pitchFamily="18" charset="0"/>
        <a:buChar char="*"/>
        <a:defRPr sz="3450" b="1">
          <a:solidFill>
            <a:schemeClr val="tx1"/>
          </a:solidFill>
          <a:latin typeface="Trebuchet MS" panose="020B0603020202020204" pitchFamily="34" charset="0"/>
        </a:defRPr>
      </a:lvl3pPr>
      <a:lvl4pPr marL="239334" indent="-239334" algn="r" rtl="0" eaLnBrk="0" fontAlgn="base" hangingPunct="0">
        <a:spcBef>
          <a:spcPct val="0"/>
        </a:spcBef>
        <a:spcAft>
          <a:spcPct val="0"/>
        </a:spcAft>
        <a:buClr>
          <a:srgbClr val="C3260C"/>
        </a:buClr>
        <a:buSzPct val="128000"/>
        <a:buFont typeface="Georgia" panose="02040502050405020303" pitchFamily="18" charset="0"/>
        <a:buChar char="*"/>
        <a:defRPr sz="3450" b="1">
          <a:solidFill>
            <a:schemeClr val="tx1"/>
          </a:solidFill>
          <a:latin typeface="Trebuchet MS" panose="020B0603020202020204" pitchFamily="34" charset="0"/>
        </a:defRPr>
      </a:lvl4pPr>
      <a:lvl5pPr marL="239334" indent="-239334" algn="r" rtl="0" eaLnBrk="0" fontAlgn="base" hangingPunct="0">
        <a:spcBef>
          <a:spcPct val="0"/>
        </a:spcBef>
        <a:spcAft>
          <a:spcPct val="0"/>
        </a:spcAft>
        <a:buClr>
          <a:srgbClr val="C3260C"/>
        </a:buClr>
        <a:buSzPct val="128000"/>
        <a:buFont typeface="Georgia" panose="02040502050405020303" pitchFamily="18" charset="0"/>
        <a:buChar char="*"/>
        <a:defRPr sz="3450" b="1">
          <a:solidFill>
            <a:schemeClr val="tx1"/>
          </a:solidFill>
          <a:latin typeface="Trebuchet MS" panose="020B0603020202020204" pitchFamily="34" charset="0"/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171462" indent="-136933" algn="l" rtl="0" eaLnBrk="0" fontAlgn="base" hangingPunct="0">
        <a:spcBef>
          <a:spcPct val="20000"/>
        </a:spcBef>
        <a:spcAft>
          <a:spcPts val="225"/>
        </a:spcAft>
        <a:buClr>
          <a:srgbClr val="C3260C"/>
        </a:buClr>
        <a:buSzPct val="130000"/>
        <a:buFont typeface="Georgia" panose="02040502050405020303" pitchFamily="18" charset="0"/>
        <a:buChar char="*"/>
        <a:defRPr sz="1650" kern="1200">
          <a:solidFill>
            <a:srgbClr val="404040"/>
          </a:solidFill>
          <a:latin typeface="+mn-lt"/>
          <a:ea typeface="+mn-ea"/>
          <a:cs typeface="+mn-cs"/>
        </a:defRPr>
      </a:lvl1pPr>
      <a:lvl2pPr marL="410795" indent="-136933" algn="l" rtl="0" eaLnBrk="0" fontAlgn="base" hangingPunct="0">
        <a:spcBef>
          <a:spcPct val="20000"/>
        </a:spcBef>
        <a:spcAft>
          <a:spcPts val="225"/>
        </a:spcAft>
        <a:buClr>
          <a:srgbClr val="C3260C"/>
        </a:buClr>
        <a:buSzPct val="130000"/>
        <a:buFont typeface="Georgia" panose="02040502050405020303" pitchFamily="18" charset="0"/>
        <a:buChar char="*"/>
        <a:defRPr sz="1500" kern="1200">
          <a:solidFill>
            <a:srgbClr val="404040"/>
          </a:solidFill>
          <a:latin typeface="+mn-lt"/>
          <a:ea typeface="+mn-ea"/>
          <a:cs typeface="+mn-cs"/>
        </a:defRPr>
      </a:lvl2pPr>
      <a:lvl3pPr marL="616788" indent="-136933" algn="l" rtl="0" eaLnBrk="0" fontAlgn="base" hangingPunct="0">
        <a:spcBef>
          <a:spcPct val="20000"/>
        </a:spcBef>
        <a:spcAft>
          <a:spcPts val="225"/>
        </a:spcAft>
        <a:buClr>
          <a:srgbClr val="C3260C"/>
        </a:buClr>
        <a:buSzPct val="130000"/>
        <a:buFont typeface="Georgia" panose="02040502050405020303" pitchFamily="18" charset="0"/>
        <a:buChar char="*"/>
        <a:defRPr kern="1200">
          <a:solidFill>
            <a:srgbClr val="404040"/>
          </a:solidFill>
          <a:latin typeface="+mn-lt"/>
          <a:ea typeface="+mn-ea"/>
          <a:cs typeface="+mn-cs"/>
        </a:defRPr>
      </a:lvl3pPr>
      <a:lvl4pPr marL="822781" indent="-136933" algn="l" rtl="0" eaLnBrk="0" fontAlgn="base" hangingPunct="0">
        <a:spcBef>
          <a:spcPct val="20000"/>
        </a:spcBef>
        <a:spcAft>
          <a:spcPts val="225"/>
        </a:spcAft>
        <a:buClr>
          <a:srgbClr val="C3260C"/>
        </a:buClr>
        <a:buSzPct val="130000"/>
        <a:buFont typeface="Georgia" panose="02040502050405020303" pitchFamily="18" charset="0"/>
        <a:buChar char="*"/>
        <a:defRPr sz="1201" kern="1200">
          <a:solidFill>
            <a:srgbClr val="404040"/>
          </a:solidFill>
          <a:latin typeface="+mn-lt"/>
          <a:ea typeface="+mn-ea"/>
          <a:cs typeface="+mn-cs"/>
        </a:defRPr>
      </a:lvl4pPr>
      <a:lvl5pPr marL="1041873" indent="-136933" algn="l" rtl="0" eaLnBrk="0" fontAlgn="base" hangingPunct="0">
        <a:spcBef>
          <a:spcPct val="20000"/>
        </a:spcBef>
        <a:spcAft>
          <a:spcPts val="225"/>
        </a:spcAft>
        <a:buClr>
          <a:srgbClr val="C3260C"/>
        </a:buClr>
        <a:buSzPct val="130000"/>
        <a:buFont typeface="Georgia" panose="02040502050405020303" pitchFamily="18" charset="0"/>
        <a:buChar char="*"/>
        <a:defRPr sz="1050" kern="1200">
          <a:solidFill>
            <a:srgbClr val="404040"/>
          </a:solidFill>
          <a:latin typeface="+mn-lt"/>
          <a:ea typeface="+mn-ea"/>
          <a:cs typeface="+mn-cs"/>
        </a:defRPr>
      </a:lvl5pPr>
      <a:lvl6pPr marL="1248247" indent="-137171" algn="l" defTabSz="685849" rtl="0" eaLnBrk="1" latinLnBrk="0" hangingPunct="1">
        <a:spcBef>
          <a:spcPct val="20000"/>
        </a:spcBef>
        <a:spcAft>
          <a:spcPts val="225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05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474577" indent="-137171" algn="l" defTabSz="685849" rtl="0" eaLnBrk="1" latinLnBrk="0" hangingPunct="1">
        <a:spcBef>
          <a:spcPct val="20000"/>
        </a:spcBef>
        <a:spcAft>
          <a:spcPts val="225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05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1714625" indent="-137171" algn="l" defTabSz="685849" rtl="0" eaLnBrk="1" latinLnBrk="0" hangingPunct="1">
        <a:spcBef>
          <a:spcPct val="20000"/>
        </a:spcBef>
        <a:spcAft>
          <a:spcPts val="225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05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1940956" indent="-137171" algn="l" defTabSz="685849" rtl="0" eaLnBrk="1" latinLnBrk="0" hangingPunct="1">
        <a:spcBef>
          <a:spcPct val="20000"/>
        </a:spcBef>
        <a:spcAft>
          <a:spcPts val="225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05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25" algn="l" defTabSz="6858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49" algn="l" defTabSz="6858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74" algn="l" defTabSz="6858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99" algn="l" defTabSz="6858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625" algn="l" defTabSz="6858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549" algn="l" defTabSz="6858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474" algn="l" defTabSz="6858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399" algn="l" defTabSz="6858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45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hyperlink" Target="https://portal.ct.gov/-/media/DEMHS/_docs/Plans-and-Publications/EHSP0090--COVID-19-Update-Alerts-Process-1-22.pdf" TargetMode="External"/><Relationship Id="rId3" Type="http://schemas.openxmlformats.org/officeDocument/2006/relationships/notesSlide" Target="../notesSlides/notesSlide1.xml"/><Relationship Id="rId7" Type="http://schemas.openxmlformats.org/officeDocument/2006/relationships/hyperlink" Target="https://drive.google.com/drive/folders/1RqN1K0UfahVLNWt4MmL_X8pqt0tUzC_F" TargetMode="Externa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46.xml"/><Relationship Id="rId6" Type="http://schemas.openxmlformats.org/officeDocument/2006/relationships/image" Target="../media/image10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16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47.xml"/><Relationship Id="rId6" Type="http://schemas.openxmlformats.org/officeDocument/2006/relationships/hyperlink" Target="https://dphsubmissions.ct.gov/IncentivePartnerIntakeForm" TargetMode="External"/><Relationship Id="rId5" Type="http://schemas.openxmlformats.org/officeDocument/2006/relationships/image" Target="../media/image10.png"/><Relationship Id="rId4" Type="http://schemas.openxmlformats.org/officeDocument/2006/relationships/image" Target="../media/image9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hyperlink" Target="http://www.bristolpress.com/BP-Bristol+News/389179/popup-vaccine-clinics-coming-to-rockwell-park-two-churches-in-bristol" TargetMode="External"/><Relationship Id="rId3" Type="http://schemas.openxmlformats.org/officeDocument/2006/relationships/oleObject" Target="../embeddings/oleObject18.bin"/><Relationship Id="rId7" Type="http://schemas.openxmlformats.org/officeDocument/2006/relationships/hyperlink" Target="https://www.myrecordjournal.com/News/Meriden/Meriden-News/FEMA-van-to-vaccinate-hundreds-over-the-weekend" TargetMode="Externa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48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emf"/><Relationship Id="rId9" Type="http://schemas.openxmlformats.org/officeDocument/2006/relationships/image" Target="../media/image12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hyperlink" Target="https://gcc02.safelinks.protection.outlook.com/?url=https%3A%2F%2Fyoutu.be%2FqMD0guXCfMw&amp;data=04%7C01%7CDave.Reyes%40ct.gov%7C2c64eab411234dbce4ae08d905ab7779%7C118b7cfaa3dd48b9b02631ff69bb738b%7C0%7C0%7C637547059077262435%7CUnknown%7CTWFpbGZsb3d8eyJWIjoiMC4wLjAwMDAiLCJQIjoiV2luMzIiLCJBTiI6Ik1haWwiLCJXVCI6Mn0%3D%7C1000&amp;sdata=iopVf24RRRjvcP1RT7E%2FrV3k98WkVbM9nhE5NBfjQ%2FI%3D&amp;reserved=0" TargetMode="External"/><Relationship Id="rId3" Type="http://schemas.openxmlformats.org/officeDocument/2006/relationships/oleObject" Target="../embeddings/oleObject19.bin"/><Relationship Id="rId7" Type="http://schemas.openxmlformats.org/officeDocument/2006/relationships/hyperlink" Target="https://gcc02.safelinks.protection.outlook.com/?url=https%3A%2F%2Fyoutu.be%2FRnzGzJw1vdA&amp;data=04%7C01%7CDave.Reyes%40ct.gov%7C2c64eab411234dbce4ae08d905ab7779%7C118b7cfaa3dd48b9b02631ff69bb738b%7C0%7C0%7C637547059077252485%7CUnknown%7CTWFpbGZsb3d8eyJWIjoiMC4wLjAwMDAiLCJQIjoiV2luMzIiLCJBTiI6Ik1haWwiLCJXVCI6Mn0%3D%7C1000&amp;sdata=I%2BHuMNjguYtAGjU5%2FFsUsbRTCYZycYlPJHSQAZrp0BE%3D&amp;reserved=0" TargetMode="Externa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49.xml"/><Relationship Id="rId6" Type="http://schemas.openxmlformats.org/officeDocument/2006/relationships/hyperlink" Target="https://youtu.be/tVNsHBXsnuw" TargetMode="External"/><Relationship Id="rId11" Type="http://schemas.openxmlformats.org/officeDocument/2006/relationships/image" Target="../media/image15.png"/><Relationship Id="rId5" Type="http://schemas.openxmlformats.org/officeDocument/2006/relationships/image" Target="../media/image10.png"/><Relationship Id="rId10" Type="http://schemas.openxmlformats.org/officeDocument/2006/relationships/image" Target="../media/image14.png"/><Relationship Id="rId4" Type="http://schemas.openxmlformats.org/officeDocument/2006/relationships/image" Target="../media/image9.emf"/><Relationship Id="rId9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088983C-BA17-4702-B0F0-5B5E1457B67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2844711"/>
              </p:ext>
            </p:extLst>
          </p:nvPr>
        </p:nvGraphicFramePr>
        <p:xfrm>
          <a:off x="1191" y="140692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088983C-BA17-4702-B0F0-5B5E1457B6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40692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26A8A6A0-F939-481D-87DC-B8C74D9277A0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828800" y="5519013"/>
            <a:ext cx="7315200" cy="1274762"/>
          </a:xfrm>
          <a:prstGeom prst="rect">
            <a:avLst/>
          </a:prstGeom>
          <a:solidFill>
            <a:srgbClr val="5DCEAF"/>
          </a:solidFill>
        </p:spPr>
        <p:txBody>
          <a:bodyPr vert="horz" anchor="ctr"/>
          <a:lstStyle/>
          <a:p>
            <a:pPr marL="254794"/>
            <a:r>
              <a:rPr lang="en-US" sz="3600" b="0">
                <a:solidFill>
                  <a:schemeClr val="bg1"/>
                </a:solidFill>
                <a:effectLst/>
              </a:rPr>
              <a:t>DPH Vans Advertising Playbook for Local Health &amp; Host Sites</a:t>
            </a:r>
            <a:endParaRPr lang="en-US" b="0">
              <a:solidFill>
                <a:schemeClr val="bg1"/>
              </a:solidFill>
            </a:endParaRPr>
          </a:p>
        </p:txBody>
      </p:sp>
      <p:sp>
        <p:nvSpPr>
          <p:cNvPr id="84" name="Title 2">
            <a:extLst>
              <a:ext uri="{FF2B5EF4-FFF2-40B4-BE49-F238E27FC236}">
                <a16:creationId xmlns:a16="http://schemas.microsoft.com/office/drawing/2014/main" id="{4B9BA44C-91DC-44A4-B66F-604835DF05F0}"/>
              </a:ext>
            </a:extLst>
          </p:cNvPr>
          <p:cNvSpPr txBox="1">
            <a:spLocks/>
          </p:cNvSpPr>
          <p:nvPr/>
        </p:nvSpPr>
        <p:spPr>
          <a:xfrm>
            <a:off x="0" y="1414390"/>
            <a:ext cx="9144000" cy="848591"/>
          </a:xfrm>
          <a:prstGeom prst="rect">
            <a:avLst/>
          </a:prstGeom>
          <a:solidFill>
            <a:schemeClr val="bg1"/>
          </a:solidFill>
        </p:spPr>
        <p:txBody>
          <a:bodyPr vert="horz" anchor="ctr"/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C3260C"/>
              </a:buClr>
              <a:buSzPct val="128000"/>
              <a:buFont typeface="Georgia" panose="02040502050405020303" pitchFamily="18" charset="0"/>
              <a:buNone/>
              <a:defRPr sz="3600" b="1" kern="1200">
                <a:solidFill>
                  <a:srgbClr val="000000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  <a:lvl2pPr marL="319088" indent="-319088" algn="r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C3260C"/>
              </a:buClr>
              <a:buSzPct val="128000"/>
              <a:buFont typeface="Georgia" panose="02040502050405020303" pitchFamily="18" charset="0"/>
              <a:buChar char="*"/>
              <a:defRPr sz="4600" b="1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 marL="319088" indent="-319088" algn="r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C3260C"/>
              </a:buClr>
              <a:buSzPct val="128000"/>
              <a:buFont typeface="Georgia" panose="02040502050405020303" pitchFamily="18" charset="0"/>
              <a:buChar char="*"/>
              <a:defRPr sz="4600" b="1"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319088" indent="-319088" algn="r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C3260C"/>
              </a:buClr>
              <a:buSzPct val="128000"/>
              <a:buFont typeface="Georgia" panose="02040502050405020303" pitchFamily="18" charset="0"/>
              <a:buChar char="*"/>
              <a:defRPr sz="4600" b="1"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319088" indent="-319088" algn="r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C3260C"/>
              </a:buClr>
              <a:buSzPct val="128000"/>
              <a:buFont typeface="Georgia" panose="02040502050405020303" pitchFamily="18" charset="0"/>
              <a:buChar char="*"/>
              <a:defRPr sz="4600" b="1"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n-US" sz="4200">
                <a:solidFill>
                  <a:schemeClr val="bg1"/>
                </a:solidFill>
              </a:rPr>
              <a:t>    COVID-19 Vaccine Roll-out </a:t>
            </a:r>
          </a:p>
        </p:txBody>
      </p:sp>
      <p:pic>
        <p:nvPicPr>
          <p:cNvPr id="15365" name="Picture 5" descr="Connecticut Department of Public Health">
            <a:extLst>
              <a:ext uri="{FF2B5EF4-FFF2-40B4-BE49-F238E27FC236}">
                <a16:creationId xmlns:a16="http://schemas.microsoft.com/office/drawing/2014/main" id="{DC67CF02-688C-4CD5-80C0-59404B56A82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301" y="5349025"/>
            <a:ext cx="1593056" cy="159305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9A300826-47A6-4350-AF9B-ECF5D311D42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248977" y="1958401"/>
            <a:ext cx="6994368" cy="30215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283485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5F9CBE6-91EF-4AAC-B3AF-FB5958AC78F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04521800"/>
              </p:ext>
            </p:extLst>
          </p:nvPr>
        </p:nvGraphicFramePr>
        <p:xfrm>
          <a:off x="1195" y="1406926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5F9CBE6-91EF-4AAC-B3AF-FB5958AC78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5" y="1406926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>
            <a:extLst>
              <a:ext uri="{FF2B5EF4-FFF2-40B4-BE49-F238E27FC236}">
                <a16:creationId xmlns:a16="http://schemas.microsoft.com/office/drawing/2014/main" id="{A26336C9-0763-4644-84A8-5201D9746F7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A2E55C6-ED03-4A6B-82AC-8858E549BCE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4EAFC690-A62C-4A57-A3A9-725C7DD6E765}"/>
              </a:ext>
            </a:extLst>
          </p:cNvPr>
          <p:cNvSpPr txBox="1"/>
          <p:nvPr/>
        </p:nvSpPr>
        <p:spPr>
          <a:xfrm>
            <a:off x="0" y="637804"/>
            <a:ext cx="1080656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n-US"/>
          </a:p>
        </p:txBody>
      </p:sp>
      <p:sp>
        <p:nvSpPr>
          <p:cNvPr id="40" name="Title 39">
            <a:extLst>
              <a:ext uri="{FF2B5EF4-FFF2-40B4-BE49-F238E27FC236}">
                <a16:creationId xmlns:a16="http://schemas.microsoft.com/office/drawing/2014/main" id="{C147C51C-01C4-430B-8641-7C18923B64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919" y="98193"/>
            <a:ext cx="7813548" cy="848529"/>
          </a:xfrm>
        </p:spPr>
        <p:txBody>
          <a:bodyPr vert="horz"/>
          <a:lstStyle/>
          <a:p>
            <a:r>
              <a:rPr lang="en-US"/>
              <a:t> </a:t>
            </a:r>
          </a:p>
        </p:txBody>
      </p:sp>
      <p:sp>
        <p:nvSpPr>
          <p:cNvPr id="73" name="Title 1">
            <a:extLst>
              <a:ext uri="{FF2B5EF4-FFF2-40B4-BE49-F238E27FC236}">
                <a16:creationId xmlns:a16="http://schemas.microsoft.com/office/drawing/2014/main" id="{10DB30D5-E539-4E2B-AA81-470D12EC882E}"/>
              </a:ext>
            </a:extLst>
          </p:cNvPr>
          <p:cNvSpPr txBox="1">
            <a:spLocks/>
          </p:cNvSpPr>
          <p:nvPr/>
        </p:nvSpPr>
        <p:spPr>
          <a:xfrm>
            <a:off x="1080657" y="545331"/>
            <a:ext cx="9237518" cy="731520"/>
          </a:xfrm>
          <a:prstGeom prst="rect">
            <a:avLst/>
          </a:prstGeom>
        </p:spPr>
        <p:txBody>
          <a:bodyPr vert="horz" anchor="b"/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C3260C"/>
              </a:buClr>
              <a:buSzPct val="128000"/>
              <a:buFont typeface="Georgia" panose="02040502050405020303" pitchFamily="18" charset="0"/>
              <a:buNone/>
              <a:defRPr sz="2700" b="1" kern="1200">
                <a:solidFill>
                  <a:srgbClr val="000000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  <a:lvl2pPr marL="239319" indent="-239319" algn="r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C3260C"/>
              </a:buClr>
              <a:buSzPct val="128000"/>
              <a:buFont typeface="Georgia" panose="02040502050405020303" pitchFamily="18" charset="0"/>
              <a:buChar char="*"/>
              <a:defRPr sz="3450" b="1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 marL="239319" indent="-239319" algn="r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C3260C"/>
              </a:buClr>
              <a:buSzPct val="128000"/>
              <a:buFont typeface="Georgia" panose="02040502050405020303" pitchFamily="18" charset="0"/>
              <a:buChar char="*"/>
              <a:defRPr sz="3450" b="1"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239319" indent="-239319" algn="r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C3260C"/>
              </a:buClr>
              <a:buSzPct val="128000"/>
              <a:buFont typeface="Georgia" panose="02040502050405020303" pitchFamily="18" charset="0"/>
              <a:buChar char="*"/>
              <a:defRPr sz="3450" b="1"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239319" indent="-239319" algn="r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C3260C"/>
              </a:buClr>
              <a:buSzPct val="128000"/>
              <a:buFont typeface="Georgia" panose="02040502050405020303" pitchFamily="18" charset="0"/>
              <a:buChar char="*"/>
              <a:defRPr sz="3450" b="1"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n-US"/>
              <a:t>Advertising Checklist:</a:t>
            </a:r>
          </a:p>
        </p:txBody>
      </p:sp>
      <p:pic>
        <p:nvPicPr>
          <p:cNvPr id="45" name="Picture 44">
            <a:extLst>
              <a:ext uri="{FF2B5EF4-FFF2-40B4-BE49-F238E27FC236}">
                <a16:creationId xmlns:a16="http://schemas.microsoft.com/office/drawing/2014/main" id="{0BB19181-7CD6-4DA0-8977-664478A7D89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9920" y="195579"/>
            <a:ext cx="990738" cy="1009791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7BD47A4B-3BDD-4B68-8CF3-93E2C8047D9E}"/>
              </a:ext>
            </a:extLst>
          </p:cNvPr>
          <p:cNvSpPr txBox="1"/>
          <p:nvPr/>
        </p:nvSpPr>
        <p:spPr>
          <a:xfrm>
            <a:off x="4826833" y="91594"/>
            <a:ext cx="422724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600" i="1"/>
              <a:t>DRAFT: Subject to change – purely informational purposes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29BCA0A-B502-3348-9B5D-703589361A97}"/>
              </a:ext>
            </a:extLst>
          </p:cNvPr>
          <p:cNvSpPr txBox="1"/>
          <p:nvPr/>
        </p:nvSpPr>
        <p:spPr>
          <a:xfrm>
            <a:off x="269823" y="1492396"/>
            <a:ext cx="8454774" cy="452431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1600" b="1" dirty="0">
                <a:latin typeface="Trebuchet MS"/>
                <a:cs typeface="Arial"/>
              </a:rPr>
              <a:t>Resident Outreach</a:t>
            </a:r>
          </a:p>
          <a:p>
            <a:pPr marL="742950" lvl="1" indent="-285750">
              <a:buFont typeface="Wingdings" pitchFamily="2" charset="2"/>
              <a:buChar char="q"/>
            </a:pPr>
            <a:r>
              <a:rPr lang="en-US" sz="1600" dirty="0">
                <a:latin typeface="Trebuchet MS"/>
                <a:cs typeface="Arial"/>
              </a:rPr>
              <a:t>Distribute flyers within 4-5 block radius of pop-up site (with Fire Department or other volunteers), leveraging the templates available in the </a:t>
            </a:r>
            <a:r>
              <a:rPr lang="en-US" sz="1600" dirty="0">
                <a:latin typeface="Trebuchet MS"/>
                <a:cs typeface="Arial"/>
                <a:hlinkClick r:id="rId7"/>
              </a:rPr>
              <a:t>DPH Vans Marketing Toolkit </a:t>
            </a:r>
            <a:endParaRPr lang="en-US" sz="1600" dirty="0">
              <a:latin typeface="Trebuchet MS"/>
              <a:cs typeface="Arial"/>
            </a:endParaRPr>
          </a:p>
          <a:p>
            <a:pPr marL="742950" lvl="1" indent="-285750">
              <a:buFont typeface="Wingdings" pitchFamily="2" charset="2"/>
              <a:buChar char="q"/>
            </a:pPr>
            <a:r>
              <a:rPr lang="en-US" sz="1600" dirty="0">
                <a:latin typeface="Trebuchet MS"/>
                <a:cs typeface="Arial"/>
              </a:rPr>
              <a:t>Canvass flyers on community bulletins</a:t>
            </a:r>
          </a:p>
          <a:p>
            <a:pPr marL="742950" lvl="1" indent="-285750">
              <a:buFont typeface="Wingdings" pitchFamily="2" charset="2"/>
              <a:buChar char="q"/>
            </a:pPr>
            <a:r>
              <a:rPr lang="en-US" sz="1600" dirty="0">
                <a:latin typeface="Trebuchet MS"/>
                <a:cs typeface="Arial"/>
              </a:rPr>
              <a:t>Request superintendent email parents / students</a:t>
            </a:r>
          </a:p>
          <a:p>
            <a:pPr marL="742950" lvl="1" indent="-285750">
              <a:buFont typeface="Wingdings" pitchFamily="2" charset="2"/>
              <a:buChar char="q"/>
            </a:pPr>
            <a:r>
              <a:rPr lang="en-US" sz="1600" dirty="0">
                <a:latin typeface="Trebuchet MS"/>
                <a:cs typeface="Arial"/>
              </a:rPr>
              <a:t>Request other departments share on their email distribution / social media accounts</a:t>
            </a:r>
          </a:p>
          <a:p>
            <a:pPr marL="1200150" lvl="2" indent="-285750">
              <a:buFont typeface="Wingdings" pitchFamily="2" charset="2"/>
              <a:buChar char="q"/>
            </a:pPr>
            <a:r>
              <a:rPr lang="en-US" sz="1600" dirty="0">
                <a:latin typeface="Trebuchet MS"/>
                <a:cs typeface="Arial"/>
              </a:rPr>
              <a:t>Parks &amp; Recreation </a:t>
            </a:r>
          </a:p>
          <a:p>
            <a:pPr marL="1200150" lvl="2" indent="-285750">
              <a:buFont typeface="Wingdings" pitchFamily="2" charset="2"/>
              <a:buChar char="q"/>
            </a:pPr>
            <a:r>
              <a:rPr lang="en-US" sz="1600" dirty="0">
                <a:latin typeface="Trebuchet MS"/>
                <a:cs typeface="Arial"/>
              </a:rPr>
              <a:t>Public Works &amp; Water</a:t>
            </a:r>
          </a:p>
          <a:p>
            <a:pPr marL="1200150" lvl="2" indent="-285750">
              <a:buFont typeface="Wingdings" pitchFamily="2" charset="2"/>
              <a:buChar char="q"/>
            </a:pPr>
            <a:r>
              <a:rPr lang="en-US" sz="1600" dirty="0">
                <a:latin typeface="Trebuchet MS"/>
                <a:cs typeface="Arial"/>
              </a:rPr>
              <a:t>Chamber of Commerce</a:t>
            </a:r>
          </a:p>
          <a:p>
            <a:pPr marL="1200150" lvl="2" indent="-285750">
              <a:buFont typeface="Wingdings" pitchFamily="2" charset="2"/>
              <a:buChar char="q"/>
            </a:pPr>
            <a:r>
              <a:rPr lang="en-US" sz="1600" dirty="0">
                <a:latin typeface="Trebuchet MS"/>
                <a:cs typeface="Arial"/>
              </a:rPr>
              <a:t>Neighborhood Watch associations</a:t>
            </a:r>
          </a:p>
          <a:p>
            <a:pPr marL="1200150" lvl="2" indent="-285750">
              <a:buFont typeface="Wingdings" pitchFamily="2" charset="2"/>
              <a:buChar char="q"/>
            </a:pPr>
            <a:r>
              <a:rPr lang="en-US" sz="1600" dirty="0">
                <a:latin typeface="Trebuchet MS"/>
                <a:cs typeface="Arial"/>
              </a:rPr>
              <a:t>Small businesses</a:t>
            </a:r>
          </a:p>
          <a:p>
            <a:pPr marL="1200150" lvl="2" indent="-285750">
              <a:buFont typeface="Wingdings" pitchFamily="2" charset="2"/>
              <a:buChar char="q"/>
            </a:pPr>
            <a:r>
              <a:rPr lang="en-US" sz="1600" dirty="0">
                <a:latin typeface="Trebuchet MS"/>
                <a:cs typeface="Arial"/>
              </a:rPr>
              <a:t>Library</a:t>
            </a:r>
          </a:p>
          <a:p>
            <a:pPr marL="742950" lvl="1" indent="-285750">
              <a:buFont typeface="Wingdings" pitchFamily="2" charset="2"/>
              <a:buChar char="q"/>
            </a:pPr>
            <a:r>
              <a:rPr lang="en-US" sz="1600" dirty="0">
                <a:latin typeface="Trebuchet MS"/>
                <a:cs typeface="Arial"/>
              </a:rPr>
              <a:t>Generate </a:t>
            </a:r>
            <a:r>
              <a:rPr lang="en-US" sz="1600" dirty="0" err="1">
                <a:latin typeface="Trebuchet MS"/>
                <a:cs typeface="Arial"/>
              </a:rPr>
              <a:t>robo</a:t>
            </a:r>
            <a:r>
              <a:rPr lang="en-US" sz="1600" dirty="0">
                <a:latin typeface="Trebuchet MS"/>
                <a:cs typeface="Arial"/>
              </a:rPr>
              <a:t>-calls to residents</a:t>
            </a:r>
          </a:p>
          <a:p>
            <a:pPr marL="742950" lvl="1" indent="-285750">
              <a:buFont typeface="Wingdings" pitchFamily="2" charset="2"/>
              <a:buChar char="q"/>
            </a:pPr>
            <a:r>
              <a:rPr lang="en-US" sz="1600" dirty="0">
                <a:latin typeface="Trebuchet MS"/>
                <a:cs typeface="Arial"/>
              </a:rPr>
              <a:t>Set-up COVIDCT Everbridge notification (</a:t>
            </a:r>
            <a:r>
              <a:rPr lang="en-US" sz="1600" dirty="0">
                <a:latin typeface="Trebuchet MS"/>
                <a:cs typeface="Arial"/>
                <a:hlinkClick r:id="rId8"/>
              </a:rPr>
              <a:t>how-to details</a:t>
            </a:r>
            <a:r>
              <a:rPr lang="en-US" sz="1600" dirty="0">
                <a:latin typeface="Trebuchet MS"/>
                <a:cs typeface="Arial"/>
              </a:rPr>
              <a:t>)</a:t>
            </a:r>
          </a:p>
          <a:p>
            <a:pPr marL="742950" lvl="1" indent="-285750">
              <a:buFont typeface="Wingdings" pitchFamily="2" charset="2"/>
              <a:buChar char="q"/>
            </a:pPr>
            <a:r>
              <a:rPr lang="en-US" sz="1600" dirty="0">
                <a:latin typeface="Trebuchet MS"/>
                <a:cs typeface="Arial"/>
              </a:rPr>
              <a:t>Reach out to local NAACP chapter (or other similar organizations)</a:t>
            </a:r>
          </a:p>
          <a:p>
            <a:pPr marL="742950" lvl="1" indent="-285750">
              <a:buFont typeface="Wingdings" pitchFamily="2" charset="2"/>
              <a:buChar char="q"/>
            </a:pPr>
            <a:r>
              <a:rPr lang="en-US" sz="1600" dirty="0">
                <a:latin typeface="Trebuchet MS"/>
                <a:cs typeface="Arial"/>
              </a:rPr>
              <a:t>Loop in Emergency Services managers / staff (where relevant)</a:t>
            </a:r>
            <a:endParaRPr lang="en-US" sz="16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726D027-2715-EE4D-B767-BA457D7527D1}"/>
              </a:ext>
            </a:extLst>
          </p:cNvPr>
          <p:cNvSpPr txBox="1"/>
          <p:nvPr/>
        </p:nvSpPr>
        <p:spPr>
          <a:xfrm>
            <a:off x="269823" y="6115432"/>
            <a:ext cx="8454774" cy="18466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/>
              <a:t>Press / Social Media Communications </a:t>
            </a:r>
          </a:p>
          <a:p>
            <a:pPr marL="742960" lvl="1" indent="-285760">
              <a:buFont typeface="Wingdings" pitchFamily="2" charset="2"/>
              <a:buChar char="q"/>
            </a:pPr>
            <a:r>
              <a:rPr lang="en-US" sz="1600" dirty="0"/>
              <a:t>Submit to local newspapers (using press release template if helpful)</a:t>
            </a:r>
          </a:p>
          <a:p>
            <a:pPr marL="742960" lvl="1" indent="-285760">
              <a:buFont typeface="Wingdings" pitchFamily="2" charset="2"/>
              <a:buChar char="q"/>
            </a:pPr>
            <a:r>
              <a:rPr lang="en-US" sz="1600" dirty="0"/>
              <a:t>Share / distribute across any other influencer social media platforms</a:t>
            </a:r>
          </a:p>
          <a:p>
            <a:pPr marL="1200177" lvl="2" indent="-285760">
              <a:buFont typeface="Wingdings" pitchFamily="2" charset="2"/>
              <a:buChar char="q"/>
            </a:pPr>
            <a:r>
              <a:rPr lang="en-US" sz="1600" dirty="0"/>
              <a:t>Faith-based network</a:t>
            </a:r>
          </a:p>
          <a:p>
            <a:pPr marL="1200177" lvl="2" indent="-285760">
              <a:buFont typeface="Wingdings" pitchFamily="2" charset="2"/>
              <a:buChar char="q"/>
            </a:pPr>
            <a:r>
              <a:rPr lang="en-US" sz="1600" dirty="0"/>
              <a:t>School district</a:t>
            </a:r>
          </a:p>
          <a:p>
            <a:pPr marL="1200177" lvl="2" indent="-285760">
              <a:buFont typeface="Wingdings" pitchFamily="2" charset="2"/>
              <a:buChar char="q"/>
            </a:pPr>
            <a:r>
              <a:rPr lang="en-US" sz="1600" dirty="0"/>
              <a:t>Library</a:t>
            </a:r>
          </a:p>
          <a:p>
            <a:pPr marL="1200177" lvl="2" indent="-285760">
              <a:buFont typeface="Wingdings" pitchFamily="2" charset="2"/>
              <a:buChar char="q"/>
            </a:pPr>
            <a:r>
              <a:rPr lang="en-US" sz="1600" dirty="0"/>
              <a:t>Parent groups</a:t>
            </a:r>
          </a:p>
        </p:txBody>
      </p:sp>
    </p:spTree>
    <p:extLst>
      <p:ext uri="{BB962C8B-B14F-4D97-AF65-F5344CB8AC3E}">
        <p14:creationId xmlns:p14="http://schemas.microsoft.com/office/powerpoint/2010/main" val="167433680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5F9CBE6-91EF-4AAC-B3AF-FB5958AC78F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5" y="1406926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5F9CBE6-91EF-4AAC-B3AF-FB5958AC78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5" y="1406926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>
            <a:extLst>
              <a:ext uri="{FF2B5EF4-FFF2-40B4-BE49-F238E27FC236}">
                <a16:creationId xmlns:a16="http://schemas.microsoft.com/office/drawing/2014/main" id="{A26336C9-0763-4644-84A8-5201D9746F7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A2E55C6-ED03-4A6B-82AC-8858E549BCE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4EAFC690-A62C-4A57-A3A9-725C7DD6E765}"/>
              </a:ext>
            </a:extLst>
          </p:cNvPr>
          <p:cNvSpPr txBox="1"/>
          <p:nvPr/>
        </p:nvSpPr>
        <p:spPr>
          <a:xfrm>
            <a:off x="0" y="637804"/>
            <a:ext cx="1080656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n-US"/>
          </a:p>
        </p:txBody>
      </p:sp>
      <p:sp>
        <p:nvSpPr>
          <p:cNvPr id="40" name="Title 39">
            <a:extLst>
              <a:ext uri="{FF2B5EF4-FFF2-40B4-BE49-F238E27FC236}">
                <a16:creationId xmlns:a16="http://schemas.microsoft.com/office/drawing/2014/main" id="{C147C51C-01C4-430B-8641-7C18923B64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 </a:t>
            </a:r>
          </a:p>
        </p:txBody>
      </p:sp>
      <p:sp>
        <p:nvSpPr>
          <p:cNvPr id="73" name="Title 1">
            <a:extLst>
              <a:ext uri="{FF2B5EF4-FFF2-40B4-BE49-F238E27FC236}">
                <a16:creationId xmlns:a16="http://schemas.microsoft.com/office/drawing/2014/main" id="{10DB30D5-E539-4E2B-AA81-470D12EC882E}"/>
              </a:ext>
            </a:extLst>
          </p:cNvPr>
          <p:cNvSpPr txBox="1">
            <a:spLocks/>
          </p:cNvSpPr>
          <p:nvPr/>
        </p:nvSpPr>
        <p:spPr>
          <a:xfrm>
            <a:off x="1080657" y="545331"/>
            <a:ext cx="9237518" cy="731520"/>
          </a:xfrm>
          <a:prstGeom prst="rect">
            <a:avLst/>
          </a:prstGeom>
        </p:spPr>
        <p:txBody>
          <a:bodyPr vert="horz" anchor="b"/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C3260C"/>
              </a:buClr>
              <a:buSzPct val="128000"/>
              <a:buFont typeface="Georgia" panose="02040502050405020303" pitchFamily="18" charset="0"/>
              <a:buNone/>
              <a:defRPr sz="2700" b="1" kern="1200">
                <a:solidFill>
                  <a:srgbClr val="000000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  <a:lvl2pPr marL="239319" indent="-239319" algn="r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C3260C"/>
              </a:buClr>
              <a:buSzPct val="128000"/>
              <a:buFont typeface="Georgia" panose="02040502050405020303" pitchFamily="18" charset="0"/>
              <a:buChar char="*"/>
              <a:defRPr sz="3450" b="1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 marL="239319" indent="-239319" algn="r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C3260C"/>
              </a:buClr>
              <a:buSzPct val="128000"/>
              <a:buFont typeface="Georgia" panose="02040502050405020303" pitchFamily="18" charset="0"/>
              <a:buChar char="*"/>
              <a:defRPr sz="3450" b="1"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239319" indent="-239319" algn="r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C3260C"/>
              </a:buClr>
              <a:buSzPct val="128000"/>
              <a:buFont typeface="Georgia" panose="02040502050405020303" pitchFamily="18" charset="0"/>
              <a:buChar char="*"/>
              <a:defRPr sz="3450" b="1"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239319" indent="-239319" algn="r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C3260C"/>
              </a:buClr>
              <a:buSzPct val="128000"/>
              <a:buFont typeface="Georgia" panose="02040502050405020303" pitchFamily="18" charset="0"/>
              <a:buChar char="*"/>
              <a:defRPr sz="3450" b="1"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n-US"/>
              <a:t>Advertising Checklist:</a:t>
            </a:r>
          </a:p>
        </p:txBody>
      </p:sp>
      <p:pic>
        <p:nvPicPr>
          <p:cNvPr id="45" name="Picture 44">
            <a:extLst>
              <a:ext uri="{FF2B5EF4-FFF2-40B4-BE49-F238E27FC236}">
                <a16:creationId xmlns:a16="http://schemas.microsoft.com/office/drawing/2014/main" id="{0BB19181-7CD6-4DA0-8977-664478A7D89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9920" y="195579"/>
            <a:ext cx="990738" cy="1009791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7BD47A4B-3BDD-4B68-8CF3-93E2C8047D9E}"/>
              </a:ext>
            </a:extLst>
          </p:cNvPr>
          <p:cNvSpPr txBox="1"/>
          <p:nvPr/>
        </p:nvSpPr>
        <p:spPr>
          <a:xfrm>
            <a:off x="4826833" y="91594"/>
            <a:ext cx="422724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600" i="1"/>
              <a:t>DRAFT: Subject to change – purely informational purposes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4F78C7BC-8567-3841-8B65-F2FFBABFEA70}"/>
              </a:ext>
            </a:extLst>
          </p:cNvPr>
          <p:cNvSpPr txBox="1"/>
          <p:nvPr/>
        </p:nvSpPr>
        <p:spPr>
          <a:xfrm>
            <a:off x="209862" y="1622424"/>
            <a:ext cx="8633195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/>
              <a:t>Incentive partners</a:t>
            </a:r>
          </a:p>
          <a:p>
            <a:pPr marL="742950" lvl="1" indent="-285750">
              <a:buFont typeface="Wingdings" panose="05000000000000000000" pitchFamily="2" charset="2"/>
              <a:buChar char="q"/>
            </a:pPr>
            <a:r>
              <a:rPr lang="en-US"/>
              <a:t>Reach out to local businesses who may be willing to provide an incentive to individuals who receive vaccinations at the clinic</a:t>
            </a:r>
          </a:p>
          <a:p>
            <a:pPr marL="1200150" lvl="2" indent="-285750">
              <a:buFont typeface="Wingdings" panose="05000000000000000000" pitchFamily="2" charset="2"/>
              <a:buChar char="q"/>
            </a:pPr>
            <a:r>
              <a:rPr lang="en-US"/>
              <a:t>Businesses interested in participating should fill out </a:t>
            </a:r>
            <a:r>
              <a:rPr lang="en-US">
                <a:hlinkClick r:id="rId6"/>
              </a:rPr>
              <a:t>this form</a:t>
            </a:r>
            <a:endParaRPr lang="en-US"/>
          </a:p>
          <a:p>
            <a:pPr marL="1200150" lvl="2" indent="-285750">
              <a:buFont typeface="Wingdings" panose="05000000000000000000" pitchFamily="2" charset="2"/>
              <a:buChar char="q"/>
            </a:pPr>
            <a:r>
              <a:rPr lang="en-US"/>
              <a:t>The clinic and the businesses will be advertised on the DPH #CTSummerOnUs campaign website, as well as potentially in the Governor’s briefings and social media posts</a:t>
            </a:r>
          </a:p>
          <a:p>
            <a:endParaRPr lang="en-US" b="1"/>
          </a:p>
          <a:p>
            <a:r>
              <a:rPr lang="en-US" b="1"/>
              <a:t>On-site</a:t>
            </a:r>
          </a:p>
          <a:p>
            <a:pPr marL="742960" lvl="1" indent="-285760">
              <a:buFont typeface="Wingdings" pitchFamily="2" charset="2"/>
              <a:buChar char="q"/>
            </a:pPr>
            <a:r>
              <a:rPr lang="en-US"/>
              <a:t>Ensure there are no “building closed” signs on doorways or website</a:t>
            </a:r>
          </a:p>
          <a:p>
            <a:pPr marL="742960" lvl="1" indent="-285760">
              <a:buFont typeface="Wingdings" pitchFamily="2" charset="2"/>
              <a:buChar char="q"/>
            </a:pPr>
            <a:r>
              <a:rPr lang="en-US"/>
              <a:t>Set-up additional on-site signage (including flyers on doorways, on-site arrows to direct people inside building if needed) </a:t>
            </a:r>
          </a:p>
          <a:p>
            <a:pPr marL="1200160" lvl="2" indent="-285760">
              <a:buFont typeface="Arial" panose="020B0604020202020204" pitchFamily="34" charset="0"/>
              <a:buChar char="•"/>
            </a:pPr>
            <a:r>
              <a:rPr lang="en-US"/>
              <a:t>Note: Griffin will provide 1 sandwich board for display close to roadside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179695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5F9CBE6-91EF-4AAC-B3AF-FB5958AC78F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20252302"/>
              </p:ext>
            </p:extLst>
          </p:nvPr>
        </p:nvGraphicFramePr>
        <p:xfrm>
          <a:off x="1195" y="1406926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5F9CBE6-91EF-4AAC-B3AF-FB5958AC78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5" y="1406926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>
            <a:extLst>
              <a:ext uri="{FF2B5EF4-FFF2-40B4-BE49-F238E27FC236}">
                <a16:creationId xmlns:a16="http://schemas.microsoft.com/office/drawing/2014/main" id="{A26336C9-0763-4644-84A8-5201D9746F7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A2E55C6-ED03-4A6B-82AC-8858E549BCE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4EAFC690-A62C-4A57-A3A9-725C7DD6E765}"/>
              </a:ext>
            </a:extLst>
          </p:cNvPr>
          <p:cNvSpPr txBox="1"/>
          <p:nvPr/>
        </p:nvSpPr>
        <p:spPr>
          <a:xfrm>
            <a:off x="0" y="637804"/>
            <a:ext cx="1080656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n-US"/>
          </a:p>
        </p:txBody>
      </p:sp>
      <p:sp>
        <p:nvSpPr>
          <p:cNvPr id="40" name="Title 39">
            <a:extLst>
              <a:ext uri="{FF2B5EF4-FFF2-40B4-BE49-F238E27FC236}">
                <a16:creationId xmlns:a16="http://schemas.microsoft.com/office/drawing/2014/main" id="{C147C51C-01C4-430B-8641-7C18923B64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 </a:t>
            </a:r>
          </a:p>
        </p:txBody>
      </p:sp>
      <p:sp>
        <p:nvSpPr>
          <p:cNvPr id="73" name="Title 1">
            <a:extLst>
              <a:ext uri="{FF2B5EF4-FFF2-40B4-BE49-F238E27FC236}">
                <a16:creationId xmlns:a16="http://schemas.microsoft.com/office/drawing/2014/main" id="{10DB30D5-E539-4E2B-AA81-470D12EC882E}"/>
              </a:ext>
            </a:extLst>
          </p:cNvPr>
          <p:cNvSpPr txBox="1">
            <a:spLocks/>
          </p:cNvSpPr>
          <p:nvPr/>
        </p:nvSpPr>
        <p:spPr>
          <a:xfrm>
            <a:off x="1080657" y="545331"/>
            <a:ext cx="9237518" cy="731520"/>
          </a:xfrm>
          <a:prstGeom prst="rect">
            <a:avLst/>
          </a:prstGeom>
        </p:spPr>
        <p:txBody>
          <a:bodyPr vert="horz" anchor="b"/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C3260C"/>
              </a:buClr>
              <a:buSzPct val="128000"/>
              <a:buFont typeface="Georgia" panose="02040502050405020303" pitchFamily="18" charset="0"/>
              <a:buNone/>
              <a:defRPr sz="2700" b="1" kern="1200">
                <a:solidFill>
                  <a:srgbClr val="000000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  <a:lvl2pPr marL="239319" indent="-239319" algn="r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C3260C"/>
              </a:buClr>
              <a:buSzPct val="128000"/>
              <a:buFont typeface="Georgia" panose="02040502050405020303" pitchFamily="18" charset="0"/>
              <a:buChar char="*"/>
              <a:defRPr sz="3450" b="1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 marL="239319" indent="-239319" algn="r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C3260C"/>
              </a:buClr>
              <a:buSzPct val="128000"/>
              <a:buFont typeface="Georgia" panose="02040502050405020303" pitchFamily="18" charset="0"/>
              <a:buChar char="*"/>
              <a:defRPr sz="3450" b="1"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239319" indent="-239319" algn="r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C3260C"/>
              </a:buClr>
              <a:buSzPct val="128000"/>
              <a:buFont typeface="Georgia" panose="02040502050405020303" pitchFamily="18" charset="0"/>
              <a:buChar char="*"/>
              <a:defRPr sz="3450" b="1"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239319" indent="-239319" algn="r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C3260C"/>
              </a:buClr>
              <a:buSzPct val="128000"/>
              <a:buFont typeface="Georgia" panose="02040502050405020303" pitchFamily="18" charset="0"/>
              <a:buChar char="*"/>
              <a:defRPr sz="3450" b="1"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n-US"/>
              <a:t>Advertising Checklist:</a:t>
            </a:r>
          </a:p>
          <a:p>
            <a:r>
              <a:rPr lang="en-US"/>
              <a:t>Example Local Press Release</a:t>
            </a:r>
          </a:p>
        </p:txBody>
      </p:sp>
      <p:pic>
        <p:nvPicPr>
          <p:cNvPr id="45" name="Picture 44">
            <a:extLst>
              <a:ext uri="{FF2B5EF4-FFF2-40B4-BE49-F238E27FC236}">
                <a16:creationId xmlns:a16="http://schemas.microsoft.com/office/drawing/2014/main" id="{0BB19181-7CD6-4DA0-8977-664478A7D89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9920" y="195579"/>
            <a:ext cx="990738" cy="1009791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7BD47A4B-3BDD-4B68-8CF3-93E2C8047D9E}"/>
              </a:ext>
            </a:extLst>
          </p:cNvPr>
          <p:cNvSpPr txBox="1"/>
          <p:nvPr/>
        </p:nvSpPr>
        <p:spPr>
          <a:xfrm>
            <a:off x="4826833" y="91594"/>
            <a:ext cx="422724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600" i="1"/>
              <a:t>DRAFT: Subject to change – purely informational purposes</a:t>
            </a:r>
          </a:p>
        </p:txBody>
      </p:sp>
      <p:pic>
        <p:nvPicPr>
          <p:cNvPr id="14" name="Picture 13" descr="A screenshot of a computer screen&#10;&#10;Description automatically generated with low confidence">
            <a:extLst>
              <a:ext uri="{FF2B5EF4-FFF2-40B4-BE49-F238E27FC236}">
                <a16:creationId xmlns:a16="http://schemas.microsoft.com/office/drawing/2014/main" id="{C4B88855-F499-3849-94CF-E01D3E9A80F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9488" y="3142817"/>
            <a:ext cx="6177820" cy="2691764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1A8B8087-1004-8448-BFB9-B9CEE91F62C6}"/>
              </a:ext>
            </a:extLst>
          </p:cNvPr>
          <p:cNvSpPr/>
          <p:nvPr/>
        </p:nvSpPr>
        <p:spPr>
          <a:xfrm>
            <a:off x="540328" y="1660507"/>
            <a:ext cx="7320858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/>
              <a:t>Meriden Record Journal, ”</a:t>
            </a:r>
            <a:r>
              <a:rPr lang="en-US">
                <a:hlinkClick r:id="rId7"/>
              </a:rPr>
              <a:t>Vaccination outreach continues in Merien, mobile clinics set for weekend</a:t>
            </a:r>
            <a:r>
              <a:rPr lang="en-US"/>
              <a:t>”</a:t>
            </a:r>
          </a:p>
          <a:p>
            <a:endParaRPr lang="en-US"/>
          </a:p>
          <a:p>
            <a:r>
              <a:rPr lang="en-US"/>
              <a:t>Bristol Press, “</a:t>
            </a:r>
            <a:r>
              <a:rPr lang="en-US">
                <a:hlinkClick r:id="rId8"/>
              </a:rPr>
              <a:t>Pop-up vaccine clinics coming to Rockwell Park, two churches in Bristol</a:t>
            </a:r>
            <a:r>
              <a:rPr lang="en-US"/>
              <a:t>”</a:t>
            </a:r>
          </a:p>
        </p:txBody>
      </p:sp>
      <p:pic>
        <p:nvPicPr>
          <p:cNvPr id="8" name="Picture 7" descr="Graphical user interface, text, application, email, website&#10;&#10;Description automatically generated">
            <a:extLst>
              <a:ext uri="{FF2B5EF4-FFF2-40B4-BE49-F238E27FC236}">
                <a16:creationId xmlns:a16="http://schemas.microsoft.com/office/drawing/2014/main" id="{E17C146E-A4B2-CB42-B1C9-293C80A8BD4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3508" y="4677425"/>
            <a:ext cx="5188041" cy="2871103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415800062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5F9CBE6-91EF-4AAC-B3AF-FB5958AC78F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47503941"/>
              </p:ext>
            </p:extLst>
          </p:nvPr>
        </p:nvGraphicFramePr>
        <p:xfrm>
          <a:off x="1195" y="1406926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5F9CBE6-91EF-4AAC-B3AF-FB5958AC78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5" y="1406926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>
            <a:extLst>
              <a:ext uri="{FF2B5EF4-FFF2-40B4-BE49-F238E27FC236}">
                <a16:creationId xmlns:a16="http://schemas.microsoft.com/office/drawing/2014/main" id="{A26336C9-0763-4644-84A8-5201D9746F7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A2E55C6-ED03-4A6B-82AC-8858E549BCE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4EAFC690-A62C-4A57-A3A9-725C7DD6E765}"/>
              </a:ext>
            </a:extLst>
          </p:cNvPr>
          <p:cNvSpPr txBox="1"/>
          <p:nvPr/>
        </p:nvSpPr>
        <p:spPr>
          <a:xfrm>
            <a:off x="0" y="637804"/>
            <a:ext cx="1080656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n-US"/>
          </a:p>
        </p:txBody>
      </p:sp>
      <p:sp>
        <p:nvSpPr>
          <p:cNvPr id="40" name="Title 39">
            <a:extLst>
              <a:ext uri="{FF2B5EF4-FFF2-40B4-BE49-F238E27FC236}">
                <a16:creationId xmlns:a16="http://schemas.microsoft.com/office/drawing/2014/main" id="{C147C51C-01C4-430B-8641-7C18923B64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 </a:t>
            </a:r>
          </a:p>
        </p:txBody>
      </p:sp>
      <p:sp>
        <p:nvSpPr>
          <p:cNvPr id="73" name="Title 1">
            <a:extLst>
              <a:ext uri="{FF2B5EF4-FFF2-40B4-BE49-F238E27FC236}">
                <a16:creationId xmlns:a16="http://schemas.microsoft.com/office/drawing/2014/main" id="{10DB30D5-E539-4E2B-AA81-470D12EC882E}"/>
              </a:ext>
            </a:extLst>
          </p:cNvPr>
          <p:cNvSpPr txBox="1">
            <a:spLocks/>
          </p:cNvSpPr>
          <p:nvPr/>
        </p:nvSpPr>
        <p:spPr>
          <a:xfrm>
            <a:off x="1080657" y="545331"/>
            <a:ext cx="9237518" cy="731520"/>
          </a:xfrm>
          <a:prstGeom prst="rect">
            <a:avLst/>
          </a:prstGeom>
        </p:spPr>
        <p:txBody>
          <a:bodyPr vert="horz" anchor="b"/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C3260C"/>
              </a:buClr>
              <a:buSzPct val="128000"/>
              <a:buFont typeface="Georgia" panose="02040502050405020303" pitchFamily="18" charset="0"/>
              <a:buNone/>
              <a:defRPr sz="2700" b="1" kern="1200">
                <a:solidFill>
                  <a:srgbClr val="000000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  <a:lvl2pPr marL="239319" indent="-239319" algn="r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C3260C"/>
              </a:buClr>
              <a:buSzPct val="128000"/>
              <a:buFont typeface="Georgia" panose="02040502050405020303" pitchFamily="18" charset="0"/>
              <a:buChar char="*"/>
              <a:defRPr sz="3450" b="1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 marL="239319" indent="-239319" algn="r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C3260C"/>
              </a:buClr>
              <a:buSzPct val="128000"/>
              <a:buFont typeface="Georgia" panose="02040502050405020303" pitchFamily="18" charset="0"/>
              <a:buChar char="*"/>
              <a:defRPr sz="3450" b="1"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239319" indent="-239319" algn="r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C3260C"/>
              </a:buClr>
              <a:buSzPct val="128000"/>
              <a:buFont typeface="Georgia" panose="02040502050405020303" pitchFamily="18" charset="0"/>
              <a:buChar char="*"/>
              <a:defRPr sz="3450" b="1"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239319" indent="-239319" algn="r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C3260C"/>
              </a:buClr>
              <a:buSzPct val="128000"/>
              <a:buFont typeface="Georgia" panose="02040502050405020303" pitchFamily="18" charset="0"/>
              <a:buChar char="*"/>
              <a:defRPr sz="3450" b="1"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n-US"/>
              <a:t>Advertising Checklist:</a:t>
            </a:r>
          </a:p>
          <a:p>
            <a:r>
              <a:rPr lang="en-US"/>
              <a:t>Example PSAs</a:t>
            </a:r>
          </a:p>
        </p:txBody>
      </p:sp>
      <p:pic>
        <p:nvPicPr>
          <p:cNvPr id="45" name="Picture 44">
            <a:extLst>
              <a:ext uri="{FF2B5EF4-FFF2-40B4-BE49-F238E27FC236}">
                <a16:creationId xmlns:a16="http://schemas.microsoft.com/office/drawing/2014/main" id="{0BB19181-7CD6-4DA0-8977-664478A7D89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9920" y="195579"/>
            <a:ext cx="990738" cy="1009791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7BD47A4B-3BDD-4B68-8CF3-93E2C8047D9E}"/>
              </a:ext>
            </a:extLst>
          </p:cNvPr>
          <p:cNvSpPr txBox="1"/>
          <p:nvPr/>
        </p:nvSpPr>
        <p:spPr>
          <a:xfrm>
            <a:off x="4826833" y="91594"/>
            <a:ext cx="422724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600" i="1"/>
              <a:t>DRAFT: Subject to change – purely informational purpose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7655FFE-2167-2F46-A58F-3F4AFF3237B2}"/>
              </a:ext>
            </a:extLst>
          </p:cNvPr>
          <p:cNvSpPr/>
          <p:nvPr/>
        </p:nvSpPr>
        <p:spPr>
          <a:xfrm>
            <a:off x="434715" y="1915537"/>
            <a:ext cx="7813548" cy="17851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1200"/>
              </a:spcAft>
            </a:pPr>
            <a:r>
              <a:rPr lang="en-US" sz="2000" b="1">
                <a:solidFill>
                  <a:srgbClr val="000000"/>
                </a:solidFill>
                <a:latin typeface="inherit"/>
              </a:rPr>
              <a:t>Intended Audience - Black Community </a:t>
            </a:r>
          </a:p>
          <a:p>
            <a:pPr>
              <a:spcAft>
                <a:spcPts val="1200"/>
              </a:spcAft>
            </a:pPr>
            <a:r>
              <a:rPr lang="en-US" sz="2000">
                <a:solidFill>
                  <a:srgbClr val="000000"/>
                </a:solidFill>
                <a:latin typeface="inherit"/>
              </a:rPr>
              <a:t>Dr. McArthur: </a:t>
            </a:r>
            <a:r>
              <a:rPr lang="en-US" sz="2000">
                <a:solidFill>
                  <a:srgbClr val="0000FF"/>
                </a:solidFill>
                <a:latin typeface="inherit"/>
                <a:hlinkClick r:id="rId6"/>
              </a:rPr>
              <a:t>https://youtu.be/tVNsHBXsnuw</a:t>
            </a:r>
            <a:endParaRPr lang="en-US">
              <a:solidFill>
                <a:srgbClr val="323130"/>
              </a:solidFill>
              <a:latin typeface="Calibri" panose="020F0502020204030204" pitchFamily="34" charset="0"/>
            </a:endParaRPr>
          </a:p>
          <a:p>
            <a:pPr>
              <a:spcAft>
                <a:spcPts val="1200"/>
              </a:spcAft>
            </a:pPr>
            <a:r>
              <a:rPr lang="en-US" sz="2000">
                <a:solidFill>
                  <a:srgbClr val="000000"/>
                </a:solidFill>
                <a:latin typeface="inherit"/>
              </a:rPr>
              <a:t>Rev. Smith: </a:t>
            </a:r>
            <a:r>
              <a:rPr lang="en-US" sz="2000">
                <a:solidFill>
                  <a:srgbClr val="0000FF"/>
                </a:solidFill>
                <a:latin typeface="inherit"/>
                <a:hlinkClick r:id="rId7"/>
              </a:rPr>
              <a:t>https://youtu.be/RnzGzJw1vdA</a:t>
            </a:r>
            <a:endParaRPr lang="en-US">
              <a:solidFill>
                <a:srgbClr val="323130"/>
              </a:solidFill>
              <a:latin typeface="Calibri" panose="020F0502020204030204" pitchFamily="34" charset="0"/>
            </a:endParaRPr>
          </a:p>
          <a:p>
            <a:pPr>
              <a:spcAft>
                <a:spcPts val="1200"/>
              </a:spcAft>
            </a:pPr>
            <a:r>
              <a:rPr lang="en-US" sz="2000">
                <a:solidFill>
                  <a:srgbClr val="000000"/>
                </a:solidFill>
                <a:latin typeface="inherit"/>
              </a:rPr>
              <a:t>Pastor Barnes: </a:t>
            </a:r>
            <a:r>
              <a:rPr lang="en-US" sz="2000">
                <a:solidFill>
                  <a:srgbClr val="0000FF"/>
                </a:solidFill>
                <a:latin typeface="inherit"/>
                <a:hlinkClick r:id="rId8"/>
              </a:rPr>
              <a:t>https://youtu.be/qMD0guXCfMw</a:t>
            </a:r>
            <a:endParaRPr lang="en-US">
              <a:solidFill>
                <a:srgbClr val="323130"/>
              </a:solidFill>
              <a:latin typeface="Calibri" panose="020F0502020204030204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D5D8C2D-DD1A-4DE2-AA86-8121CC4D0C5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715772" y="4254322"/>
            <a:ext cx="4338309" cy="2455012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9BDD0258-8E11-4E29-9D81-F830AB124EE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73620" y="3850725"/>
            <a:ext cx="4016416" cy="227073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B3C04FEE-29AD-4A9B-9D95-63F878F26A5B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535486" y="5305257"/>
            <a:ext cx="4016416" cy="22748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338424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0890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13&quot;&gt;&lt;elem m_fUsage=&quot;1.31381059609000017119E+00&quot;&gt;&lt;m_msothmcolidx val=&quot;0&quot;/&gt;&lt;m_rgb r=&quot;70&quot; g=&quot;AD&quot; b=&quot;47&quot;/&gt;&lt;/elem&gt;&lt;elem m_fUsage=&quot;1.24867844010000017541E+00&quot;&gt;&lt;m_msothmcolidx val=&quot;0&quot;/&gt;&lt;m_rgb r=&quot;5B&quot; g=&quot;9B&quot; b=&quot;D5&quot;/&gt;&lt;/elem&gt;&lt;elem m_fUsage=&quot;1.13439690000000026338E+00&quot;&gt;&lt;m_msothmcolidx val=&quot;0&quot;/&gt;&lt;m_rgb r=&quot;ED&quot; g=&quot;7D&quot; b=&quot;31&quot;/&gt;&lt;/elem&gt;&lt;elem m_fUsage=&quot;8.10000000000000053291E-01&quot;&gt;&lt;m_msothmcolidx val=&quot;0&quot;/&gt;&lt;m_rgb r=&quot;FF&quot; g=&quot;C0&quot; b=&quot;00&quot;/&gt;&lt;/elem&gt;&lt;elem m_fUsage=&quot;7.29000000000000092371E-01&quot;&gt;&lt;m_msothmcolidx val=&quot;0&quot;/&gt;&lt;m_rgb r=&quot;A0&quot; g=&quot;A0&quot; b=&quot;A0&quot;/&gt;&lt;/elem&gt;&lt;elem m_fUsage=&quot;6.91884756839704406772E-01&quot;&gt;&lt;m_msothmcolidx val=&quot;0&quot;/&gt;&lt;m_rgb r=&quot;F8&quot; g=&quot;C0&quot; b=&quot;C9&quot;/&gt;&lt;/elem&gt;&lt;elem m_fUsage=&quot;6.06225211076975245561E-01&quot;&gt;&lt;m_msothmcolidx val=&quot;0&quot;/&gt;&lt;m_rgb r=&quot;7F&quot; g=&quot;DC&quot; b=&quot;FD&quot;/&gt;&lt;/elem&gt;&lt;elem m_fUsage=&quot;5.90490000000000181402E-01&quot;&gt;&lt;m_msothmcolidx val=&quot;0&quot;/&gt;&lt;m_rgb r=&quot;38&quot; g=&quot;69&quot; b=&quot;C1&quot;/&gt;&lt;/elem&gt;&lt;elem m_fUsage=&quot;5.31441000000000163261E-01&quot;&gt;&lt;m_msothmcolidx val=&quot;0&quot;/&gt;&lt;m_rgb r=&quot;4A&quot; g=&quot;77&quot; b=&quot;C6&quot;/&gt;&lt;/elem&gt;&lt;elem m_fUsage=&quot;4.30467210000000155556E-01&quot;&gt;&lt;m_msothmcolidx val=&quot;0&quot;/&gt;&lt;m_rgb r=&quot;A5&quot; g=&quot;A5&quot; b=&quot;A5&quot;/&gt;&lt;/elem&gt;&lt;elem m_fUsage=&quot;4.04281218129899366787E-01&quot;&gt;&lt;m_msothmcolidx val=&quot;0&quot;/&gt;&lt;m_rgb r=&quot;02&quot; g=&quot;74&quot; b=&quot;BA&quot;/&gt;&lt;/elem&gt;&lt;elem m_fUsage=&quot;4.04006191071569376039E-01&quot;&gt;&lt;m_msothmcolidx val=&quot;0&quot;/&gt;&lt;m_rgb r=&quot;E8&quot; g=&quot;2C&quot; b=&quot;4B&quot;/&gt;&lt;/elem&gt;&lt;elem m_fUsage=&quot;3.87420489000000145552E-01&quot;&gt;&lt;m_msothmcolidx val=&quot;0&quot;/&gt;&lt;m_rgb r=&quot;FF&quot; g=&quot;C1&quot; b=&quot;08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RyEyxQcg44BeugfjO03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jz2zfnROIIHQXryY_Vfn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IYyc96H9E5YBPzzkbZb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i6v_mOhIl.liCur1Lam4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_b4fWXZJSgWAmOKFROF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juGJivDdd2hEZSQoowEQ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Gn8N5vTIw4prqpFwdj1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9aDupkxfokKIAMpHmcBX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4Ps3taQqK3C0NeBEvQL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7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5eZbMwmgbqtxZ12iEti9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VPkKHdPL6aZh1g23Or5.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PH_Template_2">
  <a:themeElements>
    <a:clrScheme name="Slipstream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Slipstream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lipstream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A12339E17457E418A0A1CC41E4E7333" ma:contentTypeVersion="5" ma:contentTypeDescription="Create a new document." ma:contentTypeScope="" ma:versionID="a8bca6704f50c07126f8cd194f1cd2c1">
  <xsd:schema xmlns:xsd="http://www.w3.org/2001/XMLSchema" xmlns:xs="http://www.w3.org/2001/XMLSchema" xmlns:p="http://schemas.microsoft.com/office/2006/metadata/properties" xmlns:ns3="c31f9fde-d2a1-4709-88e0-036bc3d9b5c1" xmlns:ns4="17386c8c-5692-4476-9e2f-b0144e3a851a" targetNamespace="http://schemas.microsoft.com/office/2006/metadata/properties" ma:root="true" ma:fieldsID="13f074f70badc3e8f77173169c0bf31b" ns3:_="" ns4:_="">
    <xsd:import namespace="c31f9fde-d2a1-4709-88e0-036bc3d9b5c1"/>
    <xsd:import namespace="17386c8c-5692-4476-9e2f-b0144e3a851a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31f9fde-d2a1-4709-88e0-036bc3d9b5c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7386c8c-5692-4476-9e2f-b0144e3a851a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38AEC31-4637-4EED-8225-2904A6701373}">
  <ds:schemaRefs>
    <ds:schemaRef ds:uri="17386c8c-5692-4476-9e2f-b0144e3a851a"/>
    <ds:schemaRef ds:uri="c31f9fde-d2a1-4709-88e0-036bc3d9b5c1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2A8CD3F9-CC91-441B-B72C-0E079540F44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3B6F363-7C12-4D63-9F77-B73973A26E30}">
  <ds:schemaRefs>
    <ds:schemaRef ds:uri="17386c8c-5692-4476-9e2f-b0144e3a851a"/>
    <ds:schemaRef ds:uri="c31f9fde-d2a1-4709-88e0-036bc3d9b5c1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PH_Template_2</Template>
  <TotalTime>3</TotalTime>
  <Words>392</Words>
  <Application>Microsoft Office PowerPoint</Application>
  <PresentationFormat>Custom</PresentationFormat>
  <Paragraphs>59</Paragraphs>
  <Slides>5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4" baseType="lpstr">
      <vt:lpstr>Arial</vt:lpstr>
      <vt:lpstr>Calibri</vt:lpstr>
      <vt:lpstr>Georgia</vt:lpstr>
      <vt:lpstr>inherit</vt:lpstr>
      <vt:lpstr>Segoe UI</vt:lpstr>
      <vt:lpstr>Trebuchet MS</vt:lpstr>
      <vt:lpstr>Wingdings</vt:lpstr>
      <vt:lpstr>DPH_Template_2</vt:lpstr>
      <vt:lpstr>think-cell Slide</vt:lpstr>
      <vt:lpstr>DPH Vans Advertising Playbook for Local Health &amp; Host Sites</vt:lpstr>
      <vt:lpstr> </vt:lpstr>
      <vt:lpstr> </vt:lpstr>
      <vt:lpstr> </vt:lpstr>
      <vt:lpstr>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errish, William</dc:creator>
  <cp:lastModifiedBy>Cripe, Millicent</cp:lastModifiedBy>
  <cp:revision>2</cp:revision>
  <dcterms:created xsi:type="dcterms:W3CDTF">2011-12-21T13:01:13Z</dcterms:created>
  <dcterms:modified xsi:type="dcterms:W3CDTF">2021-05-26T14:27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A12339E17457E418A0A1CC41E4E7333</vt:lpwstr>
  </property>
  <property fmtid="{D5CDD505-2E9C-101B-9397-08002B2CF9AE}" pid="3" name="_ip_UnifiedCompliancePolicyUIAction">
    <vt:lpwstr/>
  </property>
  <property fmtid="{D5CDD505-2E9C-101B-9397-08002B2CF9AE}" pid="4" name="_ip_UnifiedCompliancePolicyProperties">
    <vt:lpwstr/>
  </property>
</Properties>
</file>